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</p:sldMasterIdLst>
  <p:notesMasterIdLst>
    <p:notesMasterId r:id="rId6"/>
  </p:notesMasterIdLst>
  <p:sldIdLst>
    <p:sldId id="3343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A97DD36-65EE-F42C-9EBB-324F635C0DA8}" name="Juliane Borosch" initials="JB" userId="S::Juliane.Borosch@gatter3-technik.com::8cc296ea-0c88-4d06-b56c-663c752fd78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DC4C4"/>
    <a:srgbClr val="A7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na Vogt" userId="S::nina.vogt@gatter3-technik.com::4c9d1a70-c06c-4739-8cec-391e1906c152" providerId="AD" clId="Web-{EBD40F80-B757-4765-9858-45A6E9926608}"/>
    <pc:docChg chg="modSld">
      <pc:chgData name="Nina Vogt" userId="S::nina.vogt@gatter3-technik.com::4c9d1a70-c06c-4739-8cec-391e1906c152" providerId="AD" clId="Web-{EBD40F80-B757-4765-9858-45A6E9926608}" dt="2026-03-23T14:57:25.033" v="81" actId="20577"/>
      <pc:docMkLst>
        <pc:docMk/>
      </pc:docMkLst>
      <pc:sldChg chg="modSp">
        <pc:chgData name="Nina Vogt" userId="S::nina.vogt@gatter3-technik.com::4c9d1a70-c06c-4739-8cec-391e1906c152" providerId="AD" clId="Web-{EBD40F80-B757-4765-9858-45A6E9926608}" dt="2026-03-23T14:55:30.383" v="52" actId="20577"/>
        <pc:sldMkLst>
          <pc:docMk/>
          <pc:sldMk cId="1236554088" sldId="3320"/>
        </pc:sldMkLst>
        <pc:spChg chg="mod">
          <ac:chgData name="Nina Vogt" userId="S::nina.vogt@gatter3-technik.com::4c9d1a70-c06c-4739-8cec-391e1906c152" providerId="AD" clId="Web-{EBD40F80-B757-4765-9858-45A6E9926608}" dt="2026-03-23T14:55:30.383" v="52" actId="20577"/>
          <ac:spMkLst>
            <pc:docMk/>
            <pc:sldMk cId="1236554088" sldId="3320"/>
            <ac:spMk id="22" creationId="{3A9CE8E9-C7A4-E103-5B9E-04B99876091E}"/>
          </ac:spMkLst>
        </pc:spChg>
      </pc:sldChg>
      <pc:sldChg chg="modSp">
        <pc:chgData name="Nina Vogt" userId="S::nina.vogt@gatter3-technik.com::4c9d1a70-c06c-4739-8cec-391e1906c152" providerId="AD" clId="Web-{EBD40F80-B757-4765-9858-45A6E9926608}" dt="2026-03-23T14:57:25.033" v="81" actId="20577"/>
        <pc:sldMkLst>
          <pc:docMk/>
          <pc:sldMk cId="3272320564" sldId="3342"/>
        </pc:sldMkLst>
        <pc:spChg chg="mod">
          <ac:chgData name="Nina Vogt" userId="S::nina.vogt@gatter3-technik.com::4c9d1a70-c06c-4739-8cec-391e1906c152" providerId="AD" clId="Web-{EBD40F80-B757-4765-9858-45A6E9926608}" dt="2026-03-23T14:57:25.033" v="81" actId="20577"/>
          <ac:spMkLst>
            <pc:docMk/>
            <pc:sldMk cId="3272320564" sldId="3342"/>
            <ac:spMk id="5" creationId="{05945958-537D-C018-6523-DC7E6CD3C76F}"/>
          </ac:spMkLst>
        </pc:spChg>
      </pc:sldChg>
      <pc:sldChg chg="modSp">
        <pc:chgData name="Nina Vogt" userId="S::nina.vogt@gatter3-technik.com::4c9d1a70-c06c-4739-8cec-391e1906c152" providerId="AD" clId="Web-{EBD40F80-B757-4765-9858-45A6E9926608}" dt="2026-03-23T14:50:49.066" v="18" actId="20577"/>
        <pc:sldMkLst>
          <pc:docMk/>
          <pc:sldMk cId="1319471696" sldId="3348"/>
        </pc:sldMkLst>
        <pc:spChg chg="mod">
          <ac:chgData name="Nina Vogt" userId="S::nina.vogt@gatter3-technik.com::4c9d1a70-c06c-4739-8cec-391e1906c152" providerId="AD" clId="Web-{EBD40F80-B757-4765-9858-45A6E9926608}" dt="2026-03-23T14:50:49.066" v="18" actId="20577"/>
          <ac:spMkLst>
            <pc:docMk/>
            <pc:sldMk cId="1319471696" sldId="3348"/>
            <ac:spMk id="11" creationId="{EC180B47-704C-953B-7D22-9EC7A28335D7}"/>
          </ac:spMkLst>
        </pc:spChg>
      </pc:sldChg>
    </pc:docChg>
  </pc:docChgLst>
  <pc:docChgLst>
    <pc:chgData name="Juliane Borosch" userId="8cc296ea-0c88-4d06-b56c-663c752fd788" providerId="ADAL" clId="{2311D042-3853-424D-90D2-CF51E442EF1D}"/>
    <pc:docChg chg="undo redo custSel addSld delSld modSld sldOrd addMainMaster delMainMaster modMainMaster">
      <pc:chgData name="Juliane Borosch" userId="8cc296ea-0c88-4d06-b56c-663c752fd788" providerId="ADAL" clId="{2311D042-3853-424D-90D2-CF51E442EF1D}" dt="2026-03-25T08:47:25.545" v="8157" actId="2696"/>
      <pc:docMkLst>
        <pc:docMk/>
      </pc:docMkLst>
      <pc:sldChg chg="addSp delSp modSp del mod modTransition">
        <pc:chgData name="Juliane Borosch" userId="8cc296ea-0c88-4d06-b56c-663c752fd788" providerId="ADAL" clId="{2311D042-3853-424D-90D2-CF51E442EF1D}" dt="2026-03-25T08:47:08.822" v="8155" actId="2696"/>
        <pc:sldMkLst>
          <pc:docMk/>
          <pc:sldMk cId="1339168834" sldId="304"/>
        </pc:sldMkLst>
        <pc:spChg chg="mod">
          <ac:chgData name="Juliane Borosch" userId="8cc296ea-0c88-4d06-b56c-663c752fd788" providerId="ADAL" clId="{2311D042-3853-424D-90D2-CF51E442EF1D}" dt="2026-03-23T14:11:57.474" v="7950" actId="20577"/>
          <ac:spMkLst>
            <pc:docMk/>
            <pc:sldMk cId="1339168834" sldId="304"/>
            <ac:spMk id="6" creationId="{D6FF35DC-C7BE-F70F-D46C-DB5B6C519634}"/>
          </ac:spMkLst>
        </pc:spChg>
      </pc:sldChg>
      <pc:sldChg chg="addSp delSp modSp del mod modTransition">
        <pc:chgData name="Juliane Borosch" userId="8cc296ea-0c88-4d06-b56c-663c752fd788" providerId="ADAL" clId="{2311D042-3853-424D-90D2-CF51E442EF1D}" dt="2026-03-25T08:46:59.714" v="8151" actId="2696"/>
        <pc:sldMkLst>
          <pc:docMk/>
          <pc:sldMk cId="2751047421" sldId="3313"/>
        </pc:sldMkLst>
        <pc:spChg chg="mod">
          <ac:chgData name="Juliane Borosch" userId="8cc296ea-0c88-4d06-b56c-663c752fd788" providerId="ADAL" clId="{2311D042-3853-424D-90D2-CF51E442EF1D}" dt="2026-03-23T16:32:04.573" v="8135" actId="14100"/>
          <ac:spMkLst>
            <pc:docMk/>
            <pc:sldMk cId="2751047421" sldId="3313"/>
            <ac:spMk id="37" creationId="{EDC80650-6208-0D61-0AF4-CAEE7A87282A}"/>
          </ac:spMkLst>
        </pc:spChg>
      </pc:sldChg>
      <pc:sldChg chg="modSp del mod modTransition">
        <pc:chgData name="Juliane Borosch" userId="8cc296ea-0c88-4d06-b56c-663c752fd788" providerId="ADAL" clId="{2311D042-3853-424D-90D2-CF51E442EF1D}" dt="2026-03-25T08:47:03.712" v="8153" actId="2696"/>
        <pc:sldMkLst>
          <pc:docMk/>
          <pc:sldMk cId="1236554088" sldId="3320"/>
        </pc:sldMkLst>
        <pc:spChg chg="mod">
          <ac:chgData name="Juliane Borosch" userId="8cc296ea-0c88-4d06-b56c-663c752fd788" providerId="ADAL" clId="{2311D042-3853-424D-90D2-CF51E442EF1D}" dt="2026-03-23T16:30:34.696" v="8134" actId="207"/>
          <ac:spMkLst>
            <pc:docMk/>
            <pc:sldMk cId="1236554088" sldId="3320"/>
            <ac:spMk id="4" creationId="{93552359-BDA7-88F1-A2E3-89F992254402}"/>
          </ac:spMkLst>
        </pc:spChg>
        <pc:spChg chg="mod">
          <ac:chgData name="Juliane Borosch" userId="8cc296ea-0c88-4d06-b56c-663c752fd788" providerId="ADAL" clId="{2311D042-3853-424D-90D2-CF51E442EF1D}" dt="2026-03-23T15:54:06.701" v="8088" actId="20577"/>
          <ac:spMkLst>
            <pc:docMk/>
            <pc:sldMk cId="1236554088" sldId="3320"/>
            <ac:spMk id="22" creationId="{3A9CE8E9-C7A4-E103-5B9E-04B99876091E}"/>
          </ac:spMkLst>
        </pc:spChg>
      </pc:sldChg>
      <pc:sldChg chg="delSp modSp del mod modTransition">
        <pc:chgData name="Juliane Borosch" userId="8cc296ea-0c88-4d06-b56c-663c752fd788" providerId="ADAL" clId="{2311D042-3853-424D-90D2-CF51E442EF1D}" dt="2026-03-23T16:16:10.760" v="8131" actId="47"/>
        <pc:sldMkLst>
          <pc:docMk/>
          <pc:sldMk cId="3510277281" sldId="3332"/>
        </pc:sldMkLst>
      </pc:sldChg>
      <pc:sldChg chg="addSp delSp modSp del mod modTransition chgLayout">
        <pc:chgData name="Juliane Borosch" userId="8cc296ea-0c88-4d06-b56c-663c752fd788" providerId="ADAL" clId="{2311D042-3853-424D-90D2-CF51E442EF1D}" dt="2026-03-25T08:47:05.749" v="8154" actId="2696"/>
        <pc:sldMkLst>
          <pc:docMk/>
          <pc:sldMk cId="3272320564" sldId="3342"/>
        </pc:sldMkLst>
        <pc:spChg chg="mod ord">
          <ac:chgData name="Juliane Borosch" userId="8cc296ea-0c88-4d06-b56c-663c752fd788" providerId="ADAL" clId="{2311D042-3853-424D-90D2-CF51E442EF1D}" dt="2026-03-24T15:07:09.097" v="8142" actId="14100"/>
          <ac:spMkLst>
            <pc:docMk/>
            <pc:sldMk cId="3272320564" sldId="3342"/>
            <ac:spMk id="5" creationId="{05945958-537D-C018-6523-DC7E6CD3C76F}"/>
          </ac:spMkLst>
        </pc:spChg>
        <pc:spChg chg="mod ord">
          <ac:chgData name="Juliane Borosch" userId="8cc296ea-0c88-4d06-b56c-663c752fd788" providerId="ADAL" clId="{2311D042-3853-424D-90D2-CF51E442EF1D}" dt="2026-03-23T15:50:59.836" v="8043" actId="1076"/>
          <ac:spMkLst>
            <pc:docMk/>
            <pc:sldMk cId="3272320564" sldId="3342"/>
            <ac:spMk id="6" creationId="{9D03B7B9-8EB1-434C-0BD0-81C28E9B0278}"/>
          </ac:spMkLst>
        </pc:spChg>
        <pc:picChg chg="mod ord">
          <ac:chgData name="Juliane Borosch" userId="8cc296ea-0c88-4d06-b56c-663c752fd788" providerId="ADAL" clId="{2311D042-3853-424D-90D2-CF51E442EF1D}" dt="2026-03-23T15:49:32.506" v="8036" actId="700"/>
          <ac:picMkLst>
            <pc:docMk/>
            <pc:sldMk cId="3272320564" sldId="3342"/>
            <ac:picMk id="15" creationId="{9B5EE2F2-C1F4-9E64-430C-3941166FE0EE}"/>
          </ac:picMkLst>
        </pc:picChg>
      </pc:sldChg>
      <pc:sldChg chg="addSp delSp modSp new mod modTransition chgLayout">
        <pc:chgData name="Juliane Borosch" userId="8cc296ea-0c88-4d06-b56c-663c752fd788" providerId="ADAL" clId="{2311D042-3853-424D-90D2-CF51E442EF1D}" dt="2026-03-23T16:17:21.795" v="8133" actId="207"/>
        <pc:sldMkLst>
          <pc:docMk/>
          <pc:sldMk cId="1744273358" sldId="3343"/>
        </pc:sldMkLst>
        <pc:spChg chg="add mod ord">
          <ac:chgData name="Juliane Borosch" userId="8cc296ea-0c88-4d06-b56c-663c752fd788" providerId="ADAL" clId="{2311D042-3853-424D-90D2-CF51E442EF1D}" dt="2026-03-23T16:12:18.607" v="8101" actId="171"/>
          <ac:spMkLst>
            <pc:docMk/>
            <pc:sldMk cId="1744273358" sldId="3343"/>
            <ac:spMk id="2" creationId="{D654EEBF-5F57-B6FA-7BB0-F769D29804A0}"/>
          </ac:spMkLst>
        </pc:spChg>
        <pc:spChg chg="mod ord">
          <ac:chgData name="Juliane Borosch" userId="8cc296ea-0c88-4d06-b56c-663c752fd788" providerId="ADAL" clId="{2311D042-3853-424D-90D2-CF51E442EF1D}" dt="2026-03-23T16:17:21.795" v="8133" actId="207"/>
          <ac:spMkLst>
            <pc:docMk/>
            <pc:sldMk cId="1744273358" sldId="3343"/>
            <ac:spMk id="3" creationId="{B4183D65-1A73-4515-6672-CCBEDE3E5DA4}"/>
          </ac:spMkLst>
        </pc:spChg>
        <pc:spChg chg="mod ord">
          <ac:chgData name="Juliane Borosch" userId="8cc296ea-0c88-4d06-b56c-663c752fd788" providerId="ADAL" clId="{2311D042-3853-424D-90D2-CF51E442EF1D}" dt="2026-03-23T16:11:52.444" v="8097" actId="700"/>
          <ac:spMkLst>
            <pc:docMk/>
            <pc:sldMk cId="1744273358" sldId="3343"/>
            <ac:spMk id="7" creationId="{12FF43BB-B40F-7E55-7A64-EE462AC03A18}"/>
          </ac:spMkLst>
        </pc:spChg>
        <pc:picChg chg="mod ord modCrop">
          <ac:chgData name="Juliane Borosch" userId="8cc296ea-0c88-4d06-b56c-663c752fd788" providerId="ADAL" clId="{2311D042-3853-424D-90D2-CF51E442EF1D}" dt="2026-03-23T16:14:40.077" v="8120" actId="18131"/>
          <ac:picMkLst>
            <pc:docMk/>
            <pc:sldMk cId="1744273358" sldId="3343"/>
            <ac:picMk id="11" creationId="{C27FF964-87CC-0469-1217-EC62022114B0}"/>
          </ac:picMkLst>
        </pc:picChg>
      </pc:sldChg>
      <pc:sldChg chg="new del">
        <pc:chgData name="Juliane Borosch" userId="8cc296ea-0c88-4d06-b56c-663c752fd788" providerId="ADAL" clId="{2311D042-3853-424D-90D2-CF51E442EF1D}" dt="2026-03-23T10:55:21.168" v="6194" actId="2696"/>
        <pc:sldMkLst>
          <pc:docMk/>
          <pc:sldMk cId="1201956465" sldId="3344"/>
        </pc:sldMkLst>
      </pc:sldChg>
      <pc:sldChg chg="new del">
        <pc:chgData name="Juliane Borosch" userId="8cc296ea-0c88-4d06-b56c-663c752fd788" providerId="ADAL" clId="{2311D042-3853-424D-90D2-CF51E442EF1D}" dt="2026-03-25T08:47:25.545" v="8157" actId="2696"/>
        <pc:sldMkLst>
          <pc:docMk/>
          <pc:sldMk cId="1973438289" sldId="3344"/>
        </pc:sldMkLst>
      </pc:sldChg>
      <pc:sldChg chg="new del">
        <pc:chgData name="Juliane Borosch" userId="8cc296ea-0c88-4d06-b56c-663c752fd788" providerId="ADAL" clId="{2311D042-3853-424D-90D2-CF51E442EF1D}" dt="2026-03-23T10:38:20.016" v="6158" actId="2696"/>
        <pc:sldMkLst>
          <pc:docMk/>
          <pc:sldMk cId="3513254681" sldId="3344"/>
        </pc:sldMkLst>
      </pc:sldChg>
      <pc:sldChg chg="modSp new del mod">
        <pc:chgData name="Juliane Borosch" userId="8cc296ea-0c88-4d06-b56c-663c752fd788" providerId="ADAL" clId="{2311D042-3853-424D-90D2-CF51E442EF1D}" dt="2026-03-23T13:15:53.677" v="7664" actId="47"/>
        <pc:sldMkLst>
          <pc:docMk/>
          <pc:sldMk cId="2039550123" sldId="3345"/>
        </pc:sldMkLst>
      </pc:sldChg>
      <pc:sldChg chg="delSp modSp add del mod ord">
        <pc:chgData name="Juliane Borosch" userId="8cc296ea-0c88-4d06-b56c-663c752fd788" providerId="ADAL" clId="{2311D042-3853-424D-90D2-CF51E442EF1D}" dt="2026-03-23T13:15:45.405" v="7661" actId="47"/>
        <pc:sldMkLst>
          <pc:docMk/>
          <pc:sldMk cId="1593770316" sldId="3346"/>
        </pc:sldMkLst>
      </pc:sldChg>
      <pc:sldChg chg="delSp modSp new del mod modTransition">
        <pc:chgData name="Juliane Borosch" userId="8cc296ea-0c88-4d06-b56c-663c752fd788" providerId="ADAL" clId="{2311D042-3853-424D-90D2-CF51E442EF1D}" dt="2026-03-23T11:39:43.125" v="6666" actId="2696"/>
        <pc:sldMkLst>
          <pc:docMk/>
          <pc:sldMk cId="3149094138" sldId="3347"/>
        </pc:sldMkLst>
      </pc:sldChg>
      <pc:sldChg chg="new del modTransition">
        <pc:chgData name="Juliane Borosch" userId="8cc296ea-0c88-4d06-b56c-663c752fd788" providerId="ADAL" clId="{2311D042-3853-424D-90D2-CF51E442EF1D}" dt="2026-03-23T11:18:33.751" v="6605" actId="680"/>
        <pc:sldMkLst>
          <pc:docMk/>
          <pc:sldMk cId="3456489058" sldId="3347"/>
        </pc:sldMkLst>
      </pc:sldChg>
      <pc:sldChg chg="addSp delSp modSp new del mod modTransition modClrScheme chgLayout">
        <pc:chgData name="Juliane Borosch" userId="8cc296ea-0c88-4d06-b56c-663c752fd788" providerId="ADAL" clId="{2311D042-3853-424D-90D2-CF51E442EF1D}" dt="2026-03-25T08:47:01.978" v="8152" actId="2696"/>
        <pc:sldMkLst>
          <pc:docMk/>
          <pc:sldMk cId="1319471696" sldId="3348"/>
        </pc:sldMkLst>
        <pc:spChg chg="add mod">
          <ac:chgData name="Juliane Borosch" userId="8cc296ea-0c88-4d06-b56c-663c752fd788" providerId="ADAL" clId="{2311D042-3853-424D-90D2-CF51E442EF1D}" dt="2026-03-23T15:39:12.358" v="7960" actId="207"/>
          <ac:spMkLst>
            <pc:docMk/>
            <pc:sldMk cId="1319471696" sldId="3348"/>
            <ac:spMk id="2" creationId="{E1F8218B-C884-66FA-3921-1D26E32ED77B}"/>
          </ac:spMkLst>
        </pc:spChg>
        <pc:spChg chg="add mod">
          <ac:chgData name="Juliane Borosch" userId="8cc296ea-0c88-4d06-b56c-663c752fd788" providerId="ADAL" clId="{2311D042-3853-424D-90D2-CF51E442EF1D}" dt="2026-03-23T15:40:14.508" v="8007" actId="113"/>
          <ac:spMkLst>
            <pc:docMk/>
            <pc:sldMk cId="1319471696" sldId="3348"/>
            <ac:spMk id="3" creationId="{7A98FF08-5C86-10A6-3EDB-EF69E733F2FD}"/>
          </ac:spMkLst>
        </pc:spChg>
        <pc:spChg chg="mod ord">
          <ac:chgData name="Juliane Borosch" userId="8cc296ea-0c88-4d06-b56c-663c752fd788" providerId="ADAL" clId="{2311D042-3853-424D-90D2-CF51E442EF1D}" dt="2026-03-23T15:38:23.869" v="7954" actId="700"/>
          <ac:spMkLst>
            <pc:docMk/>
            <pc:sldMk cId="1319471696" sldId="3348"/>
            <ac:spMk id="6" creationId="{EBEF4918-EB67-6151-8899-9271675853AB}"/>
          </ac:spMkLst>
        </pc:spChg>
        <pc:spChg chg="mod ord">
          <ac:chgData name="Juliane Borosch" userId="8cc296ea-0c88-4d06-b56c-663c752fd788" providerId="ADAL" clId="{2311D042-3853-424D-90D2-CF51E442EF1D}" dt="2026-03-23T15:41:07.682" v="8015" actId="14100"/>
          <ac:spMkLst>
            <pc:docMk/>
            <pc:sldMk cId="1319471696" sldId="3348"/>
            <ac:spMk id="7" creationId="{C51E3241-9BEE-0BC5-9C06-BC664C744BCA}"/>
          </ac:spMkLst>
        </pc:spChg>
        <pc:spChg chg="mod ord">
          <ac:chgData name="Juliane Borosch" userId="8cc296ea-0c88-4d06-b56c-663c752fd788" providerId="ADAL" clId="{2311D042-3853-424D-90D2-CF51E442EF1D}" dt="2026-03-23T15:53:23.416" v="8082" actId="20577"/>
          <ac:spMkLst>
            <pc:docMk/>
            <pc:sldMk cId="1319471696" sldId="3348"/>
            <ac:spMk id="9" creationId="{92127507-BE00-50E5-628E-AA1686E3B91C}"/>
          </ac:spMkLst>
        </pc:spChg>
        <pc:spChg chg="mod ord">
          <ac:chgData name="Juliane Borosch" userId="8cc296ea-0c88-4d06-b56c-663c752fd788" providerId="ADAL" clId="{2311D042-3853-424D-90D2-CF51E442EF1D}" dt="2026-03-23T15:53:30.967" v="8085" actId="20577"/>
          <ac:spMkLst>
            <pc:docMk/>
            <pc:sldMk cId="1319471696" sldId="3348"/>
            <ac:spMk id="11" creationId="{EC180B47-704C-953B-7D22-9EC7A28335D7}"/>
          </ac:spMkLst>
        </pc:spChg>
        <pc:picChg chg="add mod ord">
          <ac:chgData name="Juliane Borosch" userId="8cc296ea-0c88-4d06-b56c-663c752fd788" providerId="ADAL" clId="{2311D042-3853-424D-90D2-CF51E442EF1D}" dt="2026-03-23T15:38:23.869" v="7954" actId="700"/>
          <ac:picMkLst>
            <pc:docMk/>
            <pc:sldMk cId="1319471696" sldId="3348"/>
            <ac:picMk id="17" creationId="{58A602FA-22FF-15FB-18B7-A0E2E786B707}"/>
          </ac:picMkLst>
        </pc:picChg>
        <pc:picChg chg="add mod ord">
          <ac:chgData name="Juliane Borosch" userId="8cc296ea-0c88-4d06-b56c-663c752fd788" providerId="ADAL" clId="{2311D042-3853-424D-90D2-CF51E442EF1D}" dt="2026-03-23T15:38:23.869" v="7954" actId="700"/>
          <ac:picMkLst>
            <pc:docMk/>
            <pc:sldMk cId="1319471696" sldId="3348"/>
            <ac:picMk id="19" creationId="{E4A8BC75-BD5F-025E-07A6-BFFCE66EC6C0}"/>
          </ac:picMkLst>
        </pc:picChg>
        <pc:picChg chg="add mod ord">
          <ac:chgData name="Juliane Borosch" userId="8cc296ea-0c88-4d06-b56c-663c752fd788" providerId="ADAL" clId="{2311D042-3853-424D-90D2-CF51E442EF1D}" dt="2026-03-23T15:38:23.869" v="7954" actId="700"/>
          <ac:picMkLst>
            <pc:docMk/>
            <pc:sldMk cId="1319471696" sldId="3348"/>
            <ac:picMk id="21" creationId="{6A7CA75F-0BB2-0602-1B13-0C28CBA483D1}"/>
          </ac:picMkLst>
        </pc:picChg>
      </pc:sldChg>
      <pc:sldChg chg="addSp delSp modSp new del mod modTransition">
        <pc:chgData name="Juliane Borosch" userId="8cc296ea-0c88-4d06-b56c-663c752fd788" providerId="ADAL" clId="{2311D042-3853-424D-90D2-CF51E442EF1D}" dt="2026-03-23T14:09:31.465" v="7948" actId="47"/>
        <pc:sldMkLst>
          <pc:docMk/>
          <pc:sldMk cId="581263108" sldId="3349"/>
        </pc:sldMkLst>
      </pc:sldChg>
      <pc:sldChg chg="delSp modSp add del mod">
        <pc:chgData name="Juliane Borosch" userId="8cc296ea-0c88-4d06-b56c-663c752fd788" providerId="ADAL" clId="{2311D042-3853-424D-90D2-CF51E442EF1D}" dt="2026-03-25T08:46:57.317" v="8150" actId="2696"/>
        <pc:sldMkLst>
          <pc:docMk/>
          <pc:sldMk cId="1141337526" sldId="3349"/>
        </pc:sldMkLst>
        <pc:spChg chg="del mod">
          <ac:chgData name="Juliane Borosch" userId="8cc296ea-0c88-4d06-b56c-663c752fd788" providerId="ADAL" clId="{2311D042-3853-424D-90D2-CF51E442EF1D}" dt="2026-03-25T08:46:42.430" v="8144" actId="478"/>
          <ac:spMkLst>
            <pc:docMk/>
            <pc:sldMk cId="1141337526" sldId="3349"/>
            <ac:spMk id="3" creationId="{8142452D-6912-1746-7A7C-93782747F432}"/>
          </ac:spMkLst>
        </pc:spChg>
        <pc:spChg chg="del">
          <ac:chgData name="Juliane Borosch" userId="8cc296ea-0c88-4d06-b56c-663c752fd788" providerId="ADAL" clId="{2311D042-3853-424D-90D2-CF51E442EF1D}" dt="2026-03-25T08:46:46.330" v="8146" actId="478"/>
          <ac:spMkLst>
            <pc:docMk/>
            <pc:sldMk cId="1141337526" sldId="3349"/>
            <ac:spMk id="4" creationId="{F5C98063-B023-E579-E3BC-53F60DAA8F11}"/>
          </ac:spMkLst>
        </pc:spChg>
        <pc:spChg chg="del">
          <ac:chgData name="Juliane Borosch" userId="8cc296ea-0c88-4d06-b56c-663c752fd788" providerId="ADAL" clId="{2311D042-3853-424D-90D2-CF51E442EF1D}" dt="2026-03-25T08:46:37.003" v="8143" actId="478"/>
          <ac:spMkLst>
            <pc:docMk/>
            <pc:sldMk cId="1141337526" sldId="3349"/>
            <ac:spMk id="10" creationId="{DADF1911-9B50-EFE1-D485-33B77815767F}"/>
          </ac:spMkLst>
        </pc:spChg>
        <pc:spChg chg="del mod">
          <ac:chgData name="Juliane Borosch" userId="8cc296ea-0c88-4d06-b56c-663c752fd788" providerId="ADAL" clId="{2311D042-3853-424D-90D2-CF51E442EF1D}" dt="2026-03-25T08:46:44.336" v="8145" actId="478"/>
          <ac:spMkLst>
            <pc:docMk/>
            <pc:sldMk cId="1141337526" sldId="3349"/>
            <ac:spMk id="11" creationId="{984A1FD4-63BB-70C8-2F6E-580B676D60A9}"/>
          </ac:spMkLst>
        </pc:spChg>
        <pc:spChg chg="del">
          <ac:chgData name="Juliane Borosch" userId="8cc296ea-0c88-4d06-b56c-663c752fd788" providerId="ADAL" clId="{2311D042-3853-424D-90D2-CF51E442EF1D}" dt="2026-03-25T08:46:50.952" v="8148" actId="478"/>
          <ac:spMkLst>
            <pc:docMk/>
            <pc:sldMk cId="1141337526" sldId="3349"/>
            <ac:spMk id="12" creationId="{249FDDF5-0565-0BEC-8FC4-70D7F30ECB6A}"/>
          </ac:spMkLst>
        </pc:spChg>
        <pc:spChg chg="del mod">
          <ac:chgData name="Juliane Borosch" userId="8cc296ea-0c88-4d06-b56c-663c752fd788" providerId="ADAL" clId="{2311D042-3853-424D-90D2-CF51E442EF1D}" dt="2026-03-25T08:46:48.656" v="8147" actId="478"/>
          <ac:spMkLst>
            <pc:docMk/>
            <pc:sldMk cId="1141337526" sldId="3349"/>
            <ac:spMk id="13" creationId="{22FC9CE3-61AA-8FDF-21A4-58C36882A9BE}"/>
          </ac:spMkLst>
        </pc:spChg>
        <pc:spChg chg="del">
          <ac:chgData name="Juliane Borosch" userId="8cc296ea-0c88-4d06-b56c-663c752fd788" providerId="ADAL" clId="{2311D042-3853-424D-90D2-CF51E442EF1D}" dt="2026-03-25T08:46:53.706" v="8149" actId="478"/>
          <ac:spMkLst>
            <pc:docMk/>
            <pc:sldMk cId="1141337526" sldId="3349"/>
            <ac:spMk id="14" creationId="{C1F8CA37-2074-FB02-6D85-A2516ACA2132}"/>
          </ac:spMkLst>
        </pc:spChg>
        <pc:spChg chg="mod">
          <ac:chgData name="Juliane Borosch" userId="8cc296ea-0c88-4d06-b56c-663c752fd788" providerId="ADAL" clId="{2311D042-3853-424D-90D2-CF51E442EF1D}" dt="2026-03-23T16:15:57.762" v="8129" actId="14100"/>
          <ac:spMkLst>
            <pc:docMk/>
            <pc:sldMk cId="1141337526" sldId="3349"/>
            <ac:spMk id="15" creationId="{34E9C215-8058-8124-565C-26A4B99F095B}"/>
          </ac:spMkLst>
        </pc:spChg>
        <pc:spChg chg="mod">
          <ac:chgData name="Juliane Borosch" userId="8cc296ea-0c88-4d06-b56c-663c752fd788" providerId="ADAL" clId="{2311D042-3853-424D-90D2-CF51E442EF1D}" dt="2026-03-23T16:16:00.911" v="8130" actId="14100"/>
          <ac:spMkLst>
            <pc:docMk/>
            <pc:sldMk cId="1141337526" sldId="3349"/>
            <ac:spMk id="17" creationId="{FA6B0C57-F10F-5DFF-E599-1DF17E6C4D5B}"/>
          </ac:spMkLst>
        </pc:spChg>
      </pc:sldChg>
      <pc:sldChg chg="addSp delSp modSp add del mod">
        <pc:chgData name="Juliane Borosch" userId="8cc296ea-0c88-4d06-b56c-663c752fd788" providerId="ADAL" clId="{2311D042-3853-424D-90D2-CF51E442EF1D}" dt="2026-03-23T13:15:48.239" v="7662" actId="47"/>
        <pc:sldMkLst>
          <pc:docMk/>
          <pc:sldMk cId="1831097041" sldId="3349"/>
        </pc:sldMkLst>
      </pc:sldChg>
      <pc:sldChg chg="add del">
        <pc:chgData name="Juliane Borosch" userId="8cc296ea-0c88-4d06-b56c-663c752fd788" providerId="ADAL" clId="{2311D042-3853-424D-90D2-CF51E442EF1D}" dt="2026-03-23T14:53:11.218" v="7953" actId="47"/>
        <pc:sldMkLst>
          <pc:docMk/>
          <pc:sldMk cId="3842732424" sldId="3349"/>
        </pc:sldMkLst>
      </pc:sldChg>
      <pc:sldChg chg="add del ord">
        <pc:chgData name="Juliane Borosch" userId="8cc296ea-0c88-4d06-b56c-663c752fd788" providerId="ADAL" clId="{2311D042-3853-424D-90D2-CF51E442EF1D}" dt="2026-03-23T12:00:44.018" v="6903" actId="2696"/>
        <pc:sldMkLst>
          <pc:docMk/>
          <pc:sldMk cId="661436318" sldId="3350"/>
        </pc:sldMkLst>
      </pc:sldChg>
      <pc:sldChg chg="addSp delSp modSp add del mod ord">
        <pc:chgData name="Juliane Borosch" userId="8cc296ea-0c88-4d06-b56c-663c752fd788" providerId="ADAL" clId="{2311D042-3853-424D-90D2-CF51E442EF1D}" dt="2026-03-23T13:15:51.158" v="7663" actId="47"/>
        <pc:sldMkLst>
          <pc:docMk/>
          <pc:sldMk cId="4196162545" sldId="3350"/>
        </pc:sldMkLst>
      </pc:sldChg>
      <pc:sldMasterChg chg="del modTransition delSldLayout modSldLayout">
        <pc:chgData name="Juliane Borosch" userId="8cc296ea-0c88-4d06-b56c-663c752fd788" providerId="ADAL" clId="{2311D042-3853-424D-90D2-CF51E442EF1D}" dt="2026-03-25T08:47:05.749" v="8154" actId="2696"/>
        <pc:sldMasterMkLst>
          <pc:docMk/>
          <pc:sldMasterMk cId="3401589966" sldId="2147483648"/>
        </pc:sldMasterMkLst>
        <pc:sldLayoutChg chg="del modTransition">
          <pc:chgData name="Juliane Borosch" userId="8cc296ea-0c88-4d06-b56c-663c752fd788" providerId="ADAL" clId="{2311D042-3853-424D-90D2-CF51E442EF1D}" dt="2026-03-25T08:47:05.749" v="8154" actId="2696"/>
          <pc:sldLayoutMkLst>
            <pc:docMk/>
            <pc:sldMasterMk cId="3401589966" sldId="2147483648"/>
            <pc:sldLayoutMk cId="1068617430" sldId="2147483649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5.749" v="8154" actId="2696"/>
          <pc:sldLayoutMkLst>
            <pc:docMk/>
            <pc:sldMasterMk cId="3401589966" sldId="2147483648"/>
            <pc:sldLayoutMk cId="2781547763" sldId="2147483650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5.749" v="8154" actId="2696"/>
          <pc:sldLayoutMkLst>
            <pc:docMk/>
            <pc:sldMasterMk cId="3401589966" sldId="2147483648"/>
            <pc:sldLayoutMk cId="1042825671" sldId="2147483651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5.749" v="8154" actId="2696"/>
          <pc:sldLayoutMkLst>
            <pc:docMk/>
            <pc:sldMasterMk cId="3401589966" sldId="2147483648"/>
            <pc:sldLayoutMk cId="2319366756" sldId="2147483652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5.749" v="8154" actId="2696"/>
          <pc:sldLayoutMkLst>
            <pc:docMk/>
            <pc:sldMasterMk cId="3401589966" sldId="2147483648"/>
            <pc:sldLayoutMk cId="3539691562" sldId="2147483653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5.749" v="8154" actId="2696"/>
          <pc:sldLayoutMkLst>
            <pc:docMk/>
            <pc:sldMasterMk cId="3401589966" sldId="2147483648"/>
            <pc:sldLayoutMk cId="1890115845" sldId="2147483654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5.749" v="8154" actId="2696"/>
          <pc:sldLayoutMkLst>
            <pc:docMk/>
            <pc:sldMasterMk cId="3401589966" sldId="2147483648"/>
            <pc:sldLayoutMk cId="5433597" sldId="2147483655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5.749" v="8154" actId="2696"/>
          <pc:sldLayoutMkLst>
            <pc:docMk/>
            <pc:sldMasterMk cId="3401589966" sldId="2147483648"/>
            <pc:sldLayoutMk cId="2124540929" sldId="2147483656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5.749" v="8154" actId="2696"/>
          <pc:sldLayoutMkLst>
            <pc:docMk/>
            <pc:sldMasterMk cId="3401589966" sldId="2147483648"/>
            <pc:sldLayoutMk cId="1246981231" sldId="2147483657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5.749" v="8154" actId="2696"/>
          <pc:sldLayoutMkLst>
            <pc:docMk/>
            <pc:sldMasterMk cId="3401589966" sldId="2147483648"/>
            <pc:sldLayoutMk cId="2731586964" sldId="2147483658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5.749" v="8154" actId="2696"/>
          <pc:sldLayoutMkLst>
            <pc:docMk/>
            <pc:sldMasterMk cId="3401589966" sldId="2147483648"/>
            <pc:sldLayoutMk cId="1103436712" sldId="2147483659"/>
          </pc:sldLayoutMkLst>
        </pc:sldLayoutChg>
        <pc:sldLayoutChg chg="modSp del mod modTransition">
          <pc:chgData name="Juliane Borosch" userId="8cc296ea-0c88-4d06-b56c-663c752fd788" providerId="ADAL" clId="{2311D042-3853-424D-90D2-CF51E442EF1D}" dt="2026-03-25T08:47:05.749" v="8154" actId="2696"/>
          <pc:sldLayoutMkLst>
            <pc:docMk/>
            <pc:sldMasterMk cId="3401589966" sldId="2147483648"/>
            <pc:sldLayoutMk cId="1141108015" sldId="2147483701"/>
          </pc:sldLayoutMkLst>
          <pc:spChg chg="mod">
            <ac:chgData name="Juliane Borosch" userId="8cc296ea-0c88-4d06-b56c-663c752fd788" providerId="ADAL" clId="{2311D042-3853-424D-90D2-CF51E442EF1D}" dt="2026-03-23T15:47:35.694" v="8033" actId="14100"/>
            <ac:spMkLst>
              <pc:docMk/>
              <pc:sldMasterMk cId="3401589966" sldId="2147483648"/>
              <pc:sldLayoutMk cId="1141108015" sldId="2147483701"/>
              <ac:spMk id="6" creationId="{C7A906FE-291D-44A3-74DF-4E0BF9EA5CDE}"/>
            </ac:spMkLst>
          </pc:spChg>
          <pc:spChg chg="mod">
            <ac:chgData name="Juliane Borosch" userId="8cc296ea-0c88-4d06-b56c-663c752fd788" providerId="ADAL" clId="{2311D042-3853-424D-90D2-CF51E442EF1D}" dt="2026-03-23T15:47:41.454" v="8034" actId="14100"/>
            <ac:spMkLst>
              <pc:docMk/>
              <pc:sldMasterMk cId="3401589966" sldId="2147483648"/>
              <pc:sldLayoutMk cId="1141108015" sldId="2147483701"/>
              <ac:spMk id="19" creationId="{82FA4C40-73EC-2982-AEBF-2CE9E626FBE0}"/>
            </ac:spMkLst>
          </pc:spChg>
          <pc:spChg chg="mod">
            <ac:chgData name="Juliane Borosch" userId="8cc296ea-0c88-4d06-b56c-663c752fd788" providerId="ADAL" clId="{2311D042-3853-424D-90D2-CF51E442EF1D}" dt="2026-03-23T15:47:45.130" v="8035" actId="14100"/>
            <ac:spMkLst>
              <pc:docMk/>
              <pc:sldMasterMk cId="3401589966" sldId="2147483648"/>
              <pc:sldLayoutMk cId="1141108015" sldId="2147483701"/>
              <ac:spMk id="23" creationId="{001BFB82-5A5E-8F73-4D1D-4A322559B543}"/>
            </ac:spMkLst>
          </pc:spChg>
        </pc:sldLayoutChg>
      </pc:sldMasterChg>
      <pc:sldMasterChg chg="del modTransition delSldLayout modSldLayout">
        <pc:chgData name="Juliane Borosch" userId="8cc296ea-0c88-4d06-b56c-663c752fd788" providerId="ADAL" clId="{2311D042-3853-424D-90D2-CF51E442EF1D}" dt="2026-03-25T08:47:08.822" v="8155" actId="2696"/>
        <pc:sldMasterMkLst>
          <pc:docMk/>
          <pc:sldMasterMk cId="1562449652" sldId="2147483660"/>
        </pc:sldMasterMkLst>
        <pc:sldLayoutChg chg="del modTransition">
          <pc:chgData name="Juliane Borosch" userId="8cc296ea-0c88-4d06-b56c-663c752fd788" providerId="ADAL" clId="{2311D042-3853-424D-90D2-CF51E442EF1D}" dt="2026-03-25T08:47:08.822" v="8155" actId="2696"/>
          <pc:sldLayoutMkLst>
            <pc:docMk/>
            <pc:sldMasterMk cId="1562449652" sldId="2147483660"/>
            <pc:sldLayoutMk cId="3114172885" sldId="2147483661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8.822" v="8155" actId="2696"/>
          <pc:sldLayoutMkLst>
            <pc:docMk/>
            <pc:sldMasterMk cId="1562449652" sldId="2147483660"/>
            <pc:sldLayoutMk cId="1643556501" sldId="2147483662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8.822" v="8155" actId="2696"/>
          <pc:sldLayoutMkLst>
            <pc:docMk/>
            <pc:sldMasterMk cId="1562449652" sldId="2147483660"/>
            <pc:sldLayoutMk cId="1774675109" sldId="2147483663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8.822" v="8155" actId="2696"/>
          <pc:sldLayoutMkLst>
            <pc:docMk/>
            <pc:sldMasterMk cId="1562449652" sldId="2147483660"/>
            <pc:sldLayoutMk cId="963423150" sldId="2147483664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8.822" v="8155" actId="2696"/>
          <pc:sldLayoutMkLst>
            <pc:docMk/>
            <pc:sldMasterMk cId="1562449652" sldId="2147483660"/>
            <pc:sldLayoutMk cId="3048005403" sldId="2147483665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8.822" v="8155" actId="2696"/>
          <pc:sldLayoutMkLst>
            <pc:docMk/>
            <pc:sldMasterMk cId="1562449652" sldId="2147483660"/>
            <pc:sldLayoutMk cId="4047138867" sldId="2147483666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8.822" v="8155" actId="2696"/>
          <pc:sldLayoutMkLst>
            <pc:docMk/>
            <pc:sldMasterMk cId="1562449652" sldId="2147483660"/>
            <pc:sldLayoutMk cId="1435703636" sldId="2147483667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8.822" v="8155" actId="2696"/>
          <pc:sldLayoutMkLst>
            <pc:docMk/>
            <pc:sldMasterMk cId="1562449652" sldId="2147483660"/>
            <pc:sldLayoutMk cId="2072446391" sldId="2147483668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8.822" v="8155" actId="2696"/>
          <pc:sldLayoutMkLst>
            <pc:docMk/>
            <pc:sldMasterMk cId="1562449652" sldId="2147483660"/>
            <pc:sldLayoutMk cId="3773134568" sldId="2147483669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8.822" v="8155" actId="2696"/>
          <pc:sldLayoutMkLst>
            <pc:docMk/>
            <pc:sldMasterMk cId="1562449652" sldId="2147483660"/>
            <pc:sldLayoutMk cId="1364604530" sldId="2147483670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8.822" v="8155" actId="2696"/>
          <pc:sldLayoutMkLst>
            <pc:docMk/>
            <pc:sldMasterMk cId="1562449652" sldId="2147483660"/>
            <pc:sldLayoutMk cId="1396054111" sldId="2147483671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8.822" v="8155" actId="2696"/>
          <pc:sldLayoutMkLst>
            <pc:docMk/>
            <pc:sldMasterMk cId="1562449652" sldId="2147483660"/>
            <pc:sldLayoutMk cId="3047997878" sldId="2147483672"/>
          </pc:sldLayoutMkLst>
        </pc:sldLayoutChg>
      </pc:sldMasterChg>
      <pc:sldMasterChg chg="modTransition delSldLayout modSldLayout">
        <pc:chgData name="Juliane Borosch" userId="8cc296ea-0c88-4d06-b56c-663c752fd788" providerId="ADAL" clId="{2311D042-3853-424D-90D2-CF51E442EF1D}" dt="2026-03-25T08:47:03.712" v="8153" actId="2696"/>
        <pc:sldMasterMkLst>
          <pc:docMk/>
          <pc:sldMasterMk cId="352665924" sldId="2147483673"/>
        </pc:sldMasterMkLst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3484357424" sldId="2147483674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980588742" sldId="2147483675"/>
          </pc:sldLayoutMkLst>
        </pc:sldLayoutChg>
        <pc:sldLayoutChg chg="modSp mod modTransition">
          <pc:chgData name="Juliane Borosch" userId="8cc296ea-0c88-4d06-b56c-663c752fd788" providerId="ADAL" clId="{2311D042-3853-424D-90D2-CF51E442EF1D}" dt="2026-03-23T16:11:33.726" v="8096" actId="167"/>
          <pc:sldLayoutMkLst>
            <pc:docMk/>
            <pc:sldMasterMk cId="352665924" sldId="2147483673"/>
            <pc:sldLayoutMk cId="2231111992" sldId="2147483676"/>
          </pc:sldLayoutMkLst>
          <pc:spChg chg="mod ord">
            <ac:chgData name="Juliane Borosch" userId="8cc296ea-0c88-4d06-b56c-663c752fd788" providerId="ADAL" clId="{2311D042-3853-424D-90D2-CF51E442EF1D}" dt="2026-03-23T16:11:33.726" v="8096" actId="167"/>
            <ac:spMkLst>
              <pc:docMk/>
              <pc:sldMasterMk cId="352665924" sldId="2147483673"/>
              <pc:sldLayoutMk cId="2231111992" sldId="2147483676"/>
              <ac:spMk id="15" creationId="{DC3F231A-AE27-8FD0-4113-8810359569A2}"/>
            </ac:spMkLst>
          </pc:spChg>
          <pc:spChg chg="mod ord">
            <ac:chgData name="Juliane Borosch" userId="8cc296ea-0c88-4d06-b56c-663c752fd788" providerId="ADAL" clId="{2311D042-3853-424D-90D2-CF51E442EF1D}" dt="2026-03-23T16:11:27.160" v="8095" actId="166"/>
            <ac:spMkLst>
              <pc:docMk/>
              <pc:sldMasterMk cId="352665924" sldId="2147483673"/>
              <pc:sldLayoutMk cId="2231111992" sldId="2147483676"/>
              <ac:spMk id="22" creationId="{4ACC857D-D4EF-4ACC-D8D2-280D1EC091D2}"/>
            </ac:spMkLst>
          </pc:spChg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576575086" sldId="2147483677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2470746562" sldId="2147483678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3734753162" sldId="2147483679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2528044774" sldId="2147483680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258456257" sldId="2147483681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3877240000" sldId="2147483682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64352919" sldId="2147483683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3.712" v="8153" actId="2696"/>
          <pc:sldLayoutMkLst>
            <pc:docMk/>
            <pc:sldMasterMk cId="352665924" sldId="2147483673"/>
            <pc:sldLayoutMk cId="3268077776" sldId="2147483684"/>
          </pc:sldLayoutMkLst>
        </pc:sldLayoutChg>
        <pc:sldLayoutChg chg="del modTransition">
          <pc:chgData name="Juliane Borosch" userId="8cc296ea-0c88-4d06-b56c-663c752fd788" providerId="ADAL" clId="{2311D042-3853-424D-90D2-CF51E442EF1D}" dt="2026-03-25T08:47:01.978" v="8152" actId="2696"/>
          <pc:sldLayoutMkLst>
            <pc:docMk/>
            <pc:sldMasterMk cId="352665924" sldId="2147483673"/>
            <pc:sldLayoutMk cId="1807846111" sldId="2147483685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491112046" sldId="2147483686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1027662038" sldId="2147483687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3623824896" sldId="2147483688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2044306358" sldId="2147483689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1119877775" sldId="2147483690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2908540445" sldId="2147483691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1896453518" sldId="2147483692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1102043875" sldId="2147483693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3713295438" sldId="2147483694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2558400083" sldId="2147483695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2876400259" sldId="2147483696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934267106" sldId="2147483697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4229362449" sldId="2147483698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215775434" sldId="2147483699"/>
          </pc:sldLayoutMkLst>
        </pc:sldLayoutChg>
        <pc:sldLayoutChg chg="modTransition">
          <pc:chgData name="Juliane Borosch" userId="8cc296ea-0c88-4d06-b56c-663c752fd788" providerId="ADAL" clId="{2311D042-3853-424D-90D2-CF51E442EF1D}" dt="2026-03-23T14:06:49.435" v="7911"/>
          <pc:sldLayoutMkLst>
            <pc:docMk/>
            <pc:sldMasterMk cId="352665924" sldId="2147483673"/>
            <pc:sldLayoutMk cId="1955214031" sldId="2147483700"/>
          </pc:sldLayoutMkLst>
        </pc:sldLayoutChg>
        <pc:sldLayoutChg chg="addSp delSp modSp mod modTransition">
          <pc:chgData name="Juliane Borosch" userId="8cc296ea-0c88-4d06-b56c-663c752fd788" providerId="ADAL" clId="{2311D042-3853-424D-90D2-CF51E442EF1D}" dt="2026-03-23T14:07:47.590" v="7933" actId="1076"/>
          <pc:sldLayoutMkLst>
            <pc:docMk/>
            <pc:sldMasterMk cId="352665924" sldId="2147483673"/>
            <pc:sldLayoutMk cId="3295796493" sldId="2147483702"/>
          </pc:sldLayoutMkLst>
          <pc:spChg chg="add mod">
            <ac:chgData name="Juliane Borosch" userId="8cc296ea-0c88-4d06-b56c-663c752fd788" providerId="ADAL" clId="{2311D042-3853-424D-90D2-CF51E442EF1D}" dt="2026-03-23T14:00:57.894" v="7858" actId="14100"/>
            <ac:spMkLst>
              <pc:docMk/>
              <pc:sldMasterMk cId="352665924" sldId="2147483673"/>
              <pc:sldLayoutMk cId="3295796493" sldId="2147483702"/>
              <ac:spMk id="2" creationId="{D2FC58E1-A0AE-0486-4A73-C4BE2779B964}"/>
            </ac:spMkLst>
          </pc:spChg>
          <pc:spChg chg="add mod">
            <ac:chgData name="Juliane Borosch" userId="8cc296ea-0c88-4d06-b56c-663c752fd788" providerId="ADAL" clId="{2311D042-3853-424D-90D2-CF51E442EF1D}" dt="2026-03-23T14:00:50.109" v="7857" actId="14100"/>
            <ac:spMkLst>
              <pc:docMk/>
              <pc:sldMasterMk cId="352665924" sldId="2147483673"/>
              <pc:sldLayoutMk cId="3295796493" sldId="2147483702"/>
              <ac:spMk id="3" creationId="{FE3A9C83-421E-B796-D44C-1B2434D943BE}"/>
            </ac:spMkLst>
          </pc:spChg>
          <pc:spChg chg="add mod">
            <ac:chgData name="Juliane Borosch" userId="8cc296ea-0c88-4d06-b56c-663c752fd788" providerId="ADAL" clId="{2311D042-3853-424D-90D2-CF51E442EF1D}" dt="2026-03-23T14:02:35.817" v="7874" actId="1076"/>
            <ac:spMkLst>
              <pc:docMk/>
              <pc:sldMasterMk cId="352665924" sldId="2147483673"/>
              <pc:sldLayoutMk cId="3295796493" sldId="2147483702"/>
              <ac:spMk id="5" creationId="{CE901082-5D74-ED1A-4E35-5C6FE3A50857}"/>
            </ac:spMkLst>
          </pc:spChg>
          <pc:spChg chg="add mod">
            <ac:chgData name="Juliane Borosch" userId="8cc296ea-0c88-4d06-b56c-663c752fd788" providerId="ADAL" clId="{2311D042-3853-424D-90D2-CF51E442EF1D}" dt="2026-03-23T11:37:17.642" v="6649" actId="1076"/>
            <ac:spMkLst>
              <pc:docMk/>
              <pc:sldMasterMk cId="352665924" sldId="2147483673"/>
              <pc:sldLayoutMk cId="3295796493" sldId="2147483702"/>
              <ac:spMk id="7" creationId="{DE0A4A10-3AB3-DDEA-0C02-ECD16765CED1}"/>
            </ac:spMkLst>
          </pc:spChg>
          <pc:spChg chg="mod">
            <ac:chgData name="Juliane Borosch" userId="8cc296ea-0c88-4d06-b56c-663c752fd788" providerId="ADAL" clId="{2311D042-3853-424D-90D2-CF51E442EF1D}" dt="2026-03-23T14:03:13.682" v="7875" actId="1076"/>
            <ac:spMkLst>
              <pc:docMk/>
              <pc:sldMasterMk cId="352665924" sldId="2147483673"/>
              <pc:sldLayoutMk cId="3295796493" sldId="2147483702"/>
              <ac:spMk id="10" creationId="{2CDA41EE-CD8F-AAFA-8964-3604E76AEBDF}"/>
            </ac:spMkLst>
          </pc:spChg>
          <pc:spChg chg="add mod">
            <ac:chgData name="Juliane Borosch" userId="8cc296ea-0c88-4d06-b56c-663c752fd788" providerId="ADAL" clId="{2311D042-3853-424D-90D2-CF51E442EF1D}" dt="2026-03-23T14:01:30.930" v="7861" actId="14100"/>
            <ac:spMkLst>
              <pc:docMk/>
              <pc:sldMasterMk cId="352665924" sldId="2147483673"/>
              <pc:sldLayoutMk cId="3295796493" sldId="2147483702"/>
              <ac:spMk id="13" creationId="{E042C55D-9546-4286-4764-EFC19F8F8874}"/>
            </ac:spMkLst>
          </pc:spChg>
          <pc:spChg chg="add mod">
            <ac:chgData name="Juliane Borosch" userId="8cc296ea-0c88-4d06-b56c-663c752fd788" providerId="ADAL" clId="{2311D042-3853-424D-90D2-CF51E442EF1D}" dt="2026-03-23T14:01:22.839" v="7860" actId="14100"/>
            <ac:spMkLst>
              <pc:docMk/>
              <pc:sldMasterMk cId="352665924" sldId="2147483673"/>
              <pc:sldLayoutMk cId="3295796493" sldId="2147483702"/>
              <ac:spMk id="14" creationId="{9DACE6FD-1D0C-49C6-FFA4-A31E242388AF}"/>
            </ac:spMkLst>
          </pc:spChg>
          <pc:spChg chg="add mod">
            <ac:chgData name="Juliane Borosch" userId="8cc296ea-0c88-4d06-b56c-663c752fd788" providerId="ADAL" clId="{2311D042-3853-424D-90D2-CF51E442EF1D}" dt="2026-03-23T14:01:50.539" v="7864" actId="1076"/>
            <ac:spMkLst>
              <pc:docMk/>
              <pc:sldMasterMk cId="352665924" sldId="2147483673"/>
              <pc:sldLayoutMk cId="3295796493" sldId="2147483702"/>
              <ac:spMk id="15" creationId="{A2B44F1D-55B5-7E5D-199E-92419B2B95E7}"/>
            </ac:spMkLst>
          </pc:spChg>
          <pc:spChg chg="mod">
            <ac:chgData name="Juliane Borosch" userId="8cc296ea-0c88-4d06-b56c-663c752fd788" providerId="ADAL" clId="{2311D042-3853-424D-90D2-CF51E442EF1D}" dt="2026-03-23T14:00:22.102" v="7855" actId="14100"/>
            <ac:spMkLst>
              <pc:docMk/>
              <pc:sldMasterMk cId="352665924" sldId="2147483673"/>
              <pc:sldLayoutMk cId="3295796493" sldId="2147483702"/>
              <ac:spMk id="18" creationId="{1B2998BE-FCAE-FD85-B38D-84A2CB50F777}"/>
            </ac:spMkLst>
          </pc:spChg>
          <pc:spChg chg="mod">
            <ac:chgData name="Juliane Borosch" userId="8cc296ea-0c88-4d06-b56c-663c752fd788" providerId="ADAL" clId="{2311D042-3853-424D-90D2-CF51E442EF1D}" dt="2026-03-23T14:01:46.288" v="7863" actId="1076"/>
            <ac:spMkLst>
              <pc:docMk/>
              <pc:sldMasterMk cId="352665924" sldId="2147483673"/>
              <pc:sldLayoutMk cId="3295796493" sldId="2147483702"/>
              <ac:spMk id="19" creationId="{A9126E5E-B649-083C-6C99-DB527F41E90B}"/>
            </ac:spMkLst>
          </pc:spChg>
          <pc:spChg chg="add mod">
            <ac:chgData name="Juliane Borosch" userId="8cc296ea-0c88-4d06-b56c-663c752fd788" providerId="ADAL" clId="{2311D042-3853-424D-90D2-CF51E442EF1D}" dt="2026-03-23T11:37:30.308" v="6650" actId="1076"/>
            <ac:spMkLst>
              <pc:docMk/>
              <pc:sldMasterMk cId="352665924" sldId="2147483673"/>
              <pc:sldLayoutMk cId="3295796493" sldId="2147483702"/>
              <ac:spMk id="22" creationId="{E12CEBE6-CC7A-AFC3-CAAD-BE2EBE99FC42}"/>
            </ac:spMkLst>
          </pc:spChg>
          <pc:spChg chg="mod">
            <ac:chgData name="Juliane Borosch" userId="8cc296ea-0c88-4d06-b56c-663c752fd788" providerId="ADAL" clId="{2311D042-3853-424D-90D2-CF51E442EF1D}" dt="2026-03-23T11:35:01.702" v="6630" actId="14100"/>
            <ac:spMkLst>
              <pc:docMk/>
              <pc:sldMasterMk cId="352665924" sldId="2147483673"/>
              <pc:sldLayoutMk cId="3295796493" sldId="2147483702"/>
              <ac:spMk id="23" creationId="{E036F9C3-AB95-7DA2-1BD7-27B5FC28200B}"/>
            </ac:spMkLst>
          </pc:spChg>
          <pc:spChg chg="add mod">
            <ac:chgData name="Juliane Borosch" userId="8cc296ea-0c88-4d06-b56c-663c752fd788" providerId="ADAL" clId="{2311D042-3853-424D-90D2-CF51E442EF1D}" dt="2026-03-23T14:01:57.986" v="7865" actId="14100"/>
            <ac:spMkLst>
              <pc:docMk/>
              <pc:sldMasterMk cId="352665924" sldId="2147483673"/>
              <pc:sldLayoutMk cId="3295796493" sldId="2147483702"/>
              <ac:spMk id="26" creationId="{A10E4603-6536-6B5D-B233-23AED97D4966}"/>
            </ac:spMkLst>
          </pc:spChg>
          <pc:spChg chg="add del mod">
            <ac:chgData name="Juliane Borosch" userId="8cc296ea-0c88-4d06-b56c-663c752fd788" providerId="ADAL" clId="{2311D042-3853-424D-90D2-CF51E442EF1D}" dt="2026-03-23T14:07:37.956" v="7932" actId="20577"/>
            <ac:spMkLst>
              <pc:docMk/>
              <pc:sldMasterMk cId="352665924" sldId="2147483673"/>
              <pc:sldLayoutMk cId="3295796493" sldId="2147483702"/>
              <ac:spMk id="27" creationId="{916A681E-C121-A0AD-AF1E-219512C00E5B}"/>
            </ac:spMkLst>
          </pc:spChg>
          <pc:spChg chg="add mod">
            <ac:chgData name="Juliane Borosch" userId="8cc296ea-0c88-4d06-b56c-663c752fd788" providerId="ADAL" clId="{2311D042-3853-424D-90D2-CF51E442EF1D}" dt="2026-03-23T14:02:25.107" v="7873" actId="1076"/>
            <ac:spMkLst>
              <pc:docMk/>
              <pc:sldMasterMk cId="352665924" sldId="2147483673"/>
              <pc:sldLayoutMk cId="3295796493" sldId="2147483702"/>
              <ac:spMk id="28" creationId="{E2F6C9EB-E7AF-D154-080C-B80F48831A99}"/>
            </ac:spMkLst>
          </pc:spChg>
          <pc:spChg chg="add mod">
            <ac:chgData name="Juliane Borosch" userId="8cc296ea-0c88-4d06-b56c-663c752fd788" providerId="ADAL" clId="{2311D042-3853-424D-90D2-CF51E442EF1D}" dt="2026-03-23T14:07:47.590" v="7933" actId="1076"/>
            <ac:spMkLst>
              <pc:docMk/>
              <pc:sldMasterMk cId="352665924" sldId="2147483673"/>
              <pc:sldLayoutMk cId="3295796493" sldId="2147483702"/>
              <ac:spMk id="29" creationId="{C3563B6D-6D05-181C-104C-E5DBCA7CB4FF}"/>
            </ac:spMkLst>
          </pc:spChg>
        </pc:sldLayoutChg>
      </pc:sldMasterChg>
      <pc:sldMasterChg chg="new del mod addSldLayout delSldLayout">
        <pc:chgData name="Juliane Borosch" userId="8cc296ea-0c88-4d06-b56c-663c752fd788" providerId="ADAL" clId="{2311D042-3853-424D-90D2-CF51E442EF1D}" dt="2026-03-23T11:33:32.771" v="6623" actId="6938"/>
        <pc:sldMasterMkLst>
          <pc:docMk/>
          <pc:sldMasterMk cId="1550616788" sldId="2147483702"/>
        </pc:sldMasterMkLst>
        <pc:sldLayoutChg chg="new del replId">
          <pc:chgData name="Juliane Borosch" userId="8cc296ea-0c88-4d06-b56c-663c752fd788" providerId="ADAL" clId="{2311D042-3853-424D-90D2-CF51E442EF1D}" dt="2026-03-23T11:33:32.771" v="6623" actId="6938"/>
          <pc:sldLayoutMkLst>
            <pc:docMk/>
            <pc:sldMasterMk cId="1550616788" sldId="2147483702"/>
            <pc:sldLayoutMk cId="725792877" sldId="2147483703"/>
          </pc:sldLayoutMkLst>
        </pc:sldLayoutChg>
        <pc:sldLayoutChg chg="new del replId">
          <pc:chgData name="Juliane Borosch" userId="8cc296ea-0c88-4d06-b56c-663c752fd788" providerId="ADAL" clId="{2311D042-3853-424D-90D2-CF51E442EF1D}" dt="2026-03-23T11:33:32.771" v="6623" actId="6938"/>
          <pc:sldLayoutMkLst>
            <pc:docMk/>
            <pc:sldMasterMk cId="1550616788" sldId="2147483702"/>
            <pc:sldLayoutMk cId="265994996" sldId="2147483704"/>
          </pc:sldLayoutMkLst>
        </pc:sldLayoutChg>
        <pc:sldLayoutChg chg="new del replId">
          <pc:chgData name="Juliane Borosch" userId="8cc296ea-0c88-4d06-b56c-663c752fd788" providerId="ADAL" clId="{2311D042-3853-424D-90D2-CF51E442EF1D}" dt="2026-03-23T11:33:32.771" v="6623" actId="6938"/>
          <pc:sldLayoutMkLst>
            <pc:docMk/>
            <pc:sldMasterMk cId="1550616788" sldId="2147483702"/>
            <pc:sldLayoutMk cId="3723954574" sldId="2147483705"/>
          </pc:sldLayoutMkLst>
        </pc:sldLayoutChg>
        <pc:sldLayoutChg chg="new del replId">
          <pc:chgData name="Juliane Borosch" userId="8cc296ea-0c88-4d06-b56c-663c752fd788" providerId="ADAL" clId="{2311D042-3853-424D-90D2-CF51E442EF1D}" dt="2026-03-23T11:33:32.771" v="6623" actId="6938"/>
          <pc:sldLayoutMkLst>
            <pc:docMk/>
            <pc:sldMasterMk cId="1550616788" sldId="2147483702"/>
            <pc:sldLayoutMk cId="2748554785" sldId="2147483706"/>
          </pc:sldLayoutMkLst>
        </pc:sldLayoutChg>
        <pc:sldLayoutChg chg="new del replId">
          <pc:chgData name="Juliane Borosch" userId="8cc296ea-0c88-4d06-b56c-663c752fd788" providerId="ADAL" clId="{2311D042-3853-424D-90D2-CF51E442EF1D}" dt="2026-03-23T11:33:32.771" v="6623" actId="6938"/>
          <pc:sldLayoutMkLst>
            <pc:docMk/>
            <pc:sldMasterMk cId="1550616788" sldId="2147483702"/>
            <pc:sldLayoutMk cId="4171580586" sldId="2147483707"/>
          </pc:sldLayoutMkLst>
        </pc:sldLayoutChg>
        <pc:sldLayoutChg chg="new del replId">
          <pc:chgData name="Juliane Borosch" userId="8cc296ea-0c88-4d06-b56c-663c752fd788" providerId="ADAL" clId="{2311D042-3853-424D-90D2-CF51E442EF1D}" dt="2026-03-23T11:33:32.771" v="6623" actId="6938"/>
          <pc:sldLayoutMkLst>
            <pc:docMk/>
            <pc:sldMasterMk cId="1550616788" sldId="2147483702"/>
            <pc:sldLayoutMk cId="1488112896" sldId="2147483708"/>
          </pc:sldLayoutMkLst>
        </pc:sldLayoutChg>
        <pc:sldLayoutChg chg="new del replId">
          <pc:chgData name="Juliane Borosch" userId="8cc296ea-0c88-4d06-b56c-663c752fd788" providerId="ADAL" clId="{2311D042-3853-424D-90D2-CF51E442EF1D}" dt="2026-03-23T11:33:32.771" v="6623" actId="6938"/>
          <pc:sldLayoutMkLst>
            <pc:docMk/>
            <pc:sldMasterMk cId="1550616788" sldId="2147483702"/>
            <pc:sldLayoutMk cId="1057148089" sldId="2147483709"/>
          </pc:sldLayoutMkLst>
        </pc:sldLayoutChg>
        <pc:sldLayoutChg chg="new del replId">
          <pc:chgData name="Juliane Borosch" userId="8cc296ea-0c88-4d06-b56c-663c752fd788" providerId="ADAL" clId="{2311D042-3853-424D-90D2-CF51E442EF1D}" dt="2026-03-23T11:33:32.771" v="6623" actId="6938"/>
          <pc:sldLayoutMkLst>
            <pc:docMk/>
            <pc:sldMasterMk cId="1550616788" sldId="2147483702"/>
            <pc:sldLayoutMk cId="2245226247" sldId="2147483710"/>
          </pc:sldLayoutMkLst>
        </pc:sldLayoutChg>
        <pc:sldLayoutChg chg="new del replId">
          <pc:chgData name="Juliane Borosch" userId="8cc296ea-0c88-4d06-b56c-663c752fd788" providerId="ADAL" clId="{2311D042-3853-424D-90D2-CF51E442EF1D}" dt="2026-03-23T11:33:32.771" v="6623" actId="6938"/>
          <pc:sldLayoutMkLst>
            <pc:docMk/>
            <pc:sldMasterMk cId="1550616788" sldId="2147483702"/>
            <pc:sldLayoutMk cId="2422901078" sldId="2147483711"/>
          </pc:sldLayoutMkLst>
        </pc:sldLayoutChg>
        <pc:sldLayoutChg chg="new del replId">
          <pc:chgData name="Juliane Borosch" userId="8cc296ea-0c88-4d06-b56c-663c752fd788" providerId="ADAL" clId="{2311D042-3853-424D-90D2-CF51E442EF1D}" dt="2026-03-23T11:33:32.771" v="6623" actId="6938"/>
          <pc:sldLayoutMkLst>
            <pc:docMk/>
            <pc:sldMasterMk cId="1550616788" sldId="2147483702"/>
            <pc:sldLayoutMk cId="1839958395" sldId="2147483712"/>
          </pc:sldLayoutMkLst>
        </pc:sldLayoutChg>
        <pc:sldLayoutChg chg="new del replId">
          <pc:chgData name="Juliane Borosch" userId="8cc296ea-0c88-4d06-b56c-663c752fd788" providerId="ADAL" clId="{2311D042-3853-424D-90D2-CF51E442EF1D}" dt="2026-03-23T11:33:32.771" v="6623" actId="6938"/>
          <pc:sldLayoutMkLst>
            <pc:docMk/>
            <pc:sldMasterMk cId="1550616788" sldId="2147483702"/>
            <pc:sldLayoutMk cId="3897832047" sldId="2147483713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A55591-F235-490F-8A43-686F3937E450}" type="datetimeFigureOut">
              <a:rPr lang="de-DE" smtClean="0"/>
              <a:t>25.03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A739E1-9156-47C6-ACEC-20DC9338D34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93679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svg"/><Relationship Id="rId7" Type="http://schemas.openxmlformats.org/officeDocument/2006/relationships/image" Target="../media/image11.png"/><Relationship Id="rId12" Type="http://schemas.openxmlformats.org/officeDocument/2006/relationships/image" Target="../media/image16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svg"/><Relationship Id="rId4" Type="http://schemas.openxmlformats.org/officeDocument/2006/relationships/image" Target="../media/image6.png"/><Relationship Id="rId9" Type="http://schemas.openxmlformats.org/officeDocument/2006/relationships/image" Target="../media/image1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6C70F23-2DB7-E25A-682D-35DFC504876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12192000" cy="6858000"/>
          </a:xfrm>
          <a:solidFill>
            <a:srgbClr val="D6D6D8"/>
          </a:solidFill>
        </p:spPr>
        <p:txBody>
          <a:bodyPr/>
          <a:lstStyle/>
          <a:p>
            <a:endParaRPr lang="de-DE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77D1197A-541D-F542-C200-D064813938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798888" y="971550"/>
            <a:ext cx="3349745" cy="1540427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FB88C588-34EA-7977-3A1A-C1A37CC480E7}"/>
              </a:ext>
            </a:extLst>
          </p:cNvPr>
          <p:cNvSpPr txBox="1"/>
          <p:nvPr userDrawn="1"/>
        </p:nvSpPr>
        <p:spPr bwMode="gray">
          <a:xfrm>
            <a:off x="-3798888" y="158750"/>
            <a:ext cx="3349745" cy="812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100" b="1">
                <a:latin typeface="Calibri" panose="020F0502020204030204" pitchFamily="34" charset="0"/>
                <a:cs typeface="Calibri" panose="020F0502020204030204" pitchFamily="34" charset="0"/>
              </a:rPr>
              <a:t>Bildaustauschen:</a:t>
            </a:r>
          </a:p>
          <a:p>
            <a:endParaRPr lang="de-DE" sz="1100" b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AutoNum type="arabicPeriod"/>
            </a:pPr>
            <a:r>
              <a:rPr lang="de-DE" sz="1100">
                <a:latin typeface="Calibri" panose="020F0502020204030204" pitchFamily="34" charset="0"/>
                <a:cs typeface="Calibri" panose="020F0502020204030204" pitchFamily="34" charset="0"/>
              </a:rPr>
              <a:t>Türkise Fläche zur Seite schieben.</a:t>
            </a:r>
          </a:p>
          <a:p>
            <a:pPr marL="342900" indent="-342900">
              <a:buAutoNum type="arabicPeriod"/>
            </a:pPr>
            <a:r>
              <a:rPr lang="de-DE" sz="1100">
                <a:latin typeface="Calibri" panose="020F0502020204030204" pitchFamily="34" charset="0"/>
                <a:cs typeface="Calibri" panose="020F0502020204030204" pitchFamily="34" charset="0"/>
              </a:rPr>
              <a:t>Das Bild anklicken, auf die Taste „Entf“ drücken. </a:t>
            </a:r>
          </a:p>
          <a:p>
            <a:endParaRPr lang="de-DE" sz="1400" b="1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C104F62-1CD0-2B2C-1F8E-0D9F3809285F}"/>
              </a:ext>
            </a:extLst>
          </p:cNvPr>
          <p:cNvSpPr txBox="1"/>
          <p:nvPr userDrawn="1"/>
        </p:nvSpPr>
        <p:spPr bwMode="gray">
          <a:xfrm>
            <a:off x="-3798888" y="2665688"/>
            <a:ext cx="3349745" cy="812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>
                <a:latin typeface="Calibri" panose="020F0502020204030204" pitchFamily="34" charset="0"/>
                <a:cs typeface="Calibri" panose="020F0502020204030204" pitchFamily="34" charset="0"/>
              </a:rPr>
              <a:t>3. Das gewünschte Bild aus den Dateien in die Präsentation ziehen.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15DD9CD3-7332-B2BB-D707-109131BC9031}"/>
              </a:ext>
            </a:extLst>
          </p:cNvPr>
          <p:cNvSpPr txBox="1"/>
          <p:nvPr userDrawn="1"/>
        </p:nvSpPr>
        <p:spPr bwMode="gray">
          <a:xfrm>
            <a:off x="-3798888" y="3136900"/>
            <a:ext cx="3349745" cy="3528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100">
                <a:latin typeface="Calibri" panose="020F0502020204030204" pitchFamily="34" charset="0"/>
                <a:cs typeface="Calibri" panose="020F0502020204030204" pitchFamily="34" charset="0"/>
              </a:rPr>
              <a:t>4. Das Bild über den Reiter „Bildformat“ in den Hintergrund legen und die türkise Fläche anschließend wieder positionieren.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A434E609-14B1-B230-5F0B-B2CC5C5A2E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3798888" y="3667044"/>
            <a:ext cx="3345751" cy="1778329"/>
          </a:xfrm>
          <a:prstGeom prst="rect">
            <a:avLst/>
          </a:prstGeom>
        </p:spPr>
      </p:pic>
      <p:sp>
        <p:nvSpPr>
          <p:cNvPr id="25" name="Titel 1">
            <a:extLst>
              <a:ext uri="{FF2B5EF4-FFF2-40B4-BE49-F238E27FC236}">
                <a16:creationId xmlns:a16="http://schemas.microsoft.com/office/drawing/2014/main" id="{5A6C49DC-A10D-DA2B-B2DF-02BB90F8275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043793" y="5840564"/>
            <a:ext cx="8104414" cy="83011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6000" b="1" kern="1200" cap="all" baseline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endParaRPr lang="de-DE"/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A60ECB5F-5D2E-915E-F488-878678A143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43114" y="2014813"/>
            <a:ext cx="8105774" cy="923330"/>
          </a:xfrm>
        </p:spPr>
        <p:txBody>
          <a:bodyPr wrap="square">
            <a:normAutofit/>
          </a:bodyPr>
          <a:lstStyle>
            <a:lvl1pPr>
              <a:defRPr sz="6000" b="1">
                <a:solidFill>
                  <a:schemeClr val="bg1"/>
                </a:solidFill>
                <a:latin typeface="Overpass Black" panose="00000A00000000000000" pitchFamily="2" charset="0"/>
              </a:defRPr>
            </a:lvl1pPr>
          </a:lstStyle>
          <a:p>
            <a:pPr lvl="0"/>
            <a:endParaRPr lang="de-DE"/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B4F8E4D7-96E3-00B4-FF59-CACDE400FDB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9B11C254-740B-0C98-1A53-59EC40A73C5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A0425943-164C-A900-9251-34BF9C6C702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7" name="Textplatzhalter 25">
            <a:extLst>
              <a:ext uri="{FF2B5EF4-FFF2-40B4-BE49-F238E27FC236}">
                <a16:creationId xmlns:a16="http://schemas.microsoft.com/office/drawing/2014/main" id="{AA54CAB4-63C3-95F7-FA7E-F83E72C321A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043113" y="3072088"/>
            <a:ext cx="8105775" cy="2357437"/>
          </a:xfrm>
        </p:spPr>
        <p:txBody>
          <a:bodyPr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843574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620BAEF-0BCB-D8CC-D509-3A9B632FAB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5A2433-F30A-842C-F966-308CAB5BD1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2DF640D-A911-6B6D-70A9-272CF6E5D80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C7A906FE-291D-44A3-74DF-4E0BF9EA5CDE}"/>
              </a:ext>
            </a:extLst>
          </p:cNvPr>
          <p:cNvSpPr/>
          <p:nvPr userDrawn="1"/>
        </p:nvSpPr>
        <p:spPr>
          <a:xfrm>
            <a:off x="5177631" y="1574800"/>
            <a:ext cx="7014369" cy="4114800"/>
          </a:xfrm>
          <a:prstGeom prst="rect">
            <a:avLst/>
          </a:pr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ource Sans Pro Light" panose="020B0403030403020204" pitchFamily="34" charset="0"/>
            </a:endParaRP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2FA4C40-73EC-2982-AEBF-2CE9E626FB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16613" y="3232150"/>
            <a:ext cx="5759450" cy="1822450"/>
          </a:xfrm>
        </p:spPr>
        <p:txBody>
          <a:bodyPr>
            <a:normAutofit/>
          </a:bodyPr>
          <a:lstStyle>
            <a:lvl1pPr algn="l">
              <a:defRPr sz="1200">
                <a:solidFill>
                  <a:srgbClr val="1E242B"/>
                </a:solidFill>
              </a:defRPr>
            </a:lvl1pPr>
            <a:lvl2pPr algn="l">
              <a:defRPr sz="1200">
                <a:solidFill>
                  <a:srgbClr val="1E242B"/>
                </a:solidFill>
              </a:defRPr>
            </a:lvl2pPr>
            <a:lvl3pPr algn="l">
              <a:defRPr sz="1200">
                <a:solidFill>
                  <a:srgbClr val="1E242B"/>
                </a:solidFill>
              </a:defRPr>
            </a:lvl3pPr>
            <a:lvl4pPr algn="l">
              <a:defRPr sz="1100">
                <a:solidFill>
                  <a:srgbClr val="1E242B"/>
                </a:solidFill>
              </a:defRPr>
            </a:lvl4pPr>
            <a:lvl5pPr algn="l">
              <a:defRPr sz="11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Titel 22">
            <a:extLst>
              <a:ext uri="{FF2B5EF4-FFF2-40B4-BE49-F238E27FC236}">
                <a16:creationId xmlns:a16="http://schemas.microsoft.com/office/drawing/2014/main" id="{001BFB82-5A5E-8F73-4D1D-4A322559B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6613" y="2143125"/>
            <a:ext cx="5759450" cy="796599"/>
          </a:xfrm>
        </p:spPr>
        <p:txBody>
          <a:bodyPr/>
          <a:lstStyle>
            <a:lvl1pPr algn="l">
              <a:defRPr>
                <a:solidFill>
                  <a:srgbClr val="1E242B"/>
                </a:solidFill>
              </a:defRPr>
            </a:lvl1pPr>
          </a:lstStyle>
          <a:p>
            <a:endParaRPr lang="de-DE"/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91FB3888-1090-E92C-95B8-AF777103019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5938" y="1346200"/>
            <a:ext cx="4708913" cy="4572000"/>
          </a:xfrm>
          <a:prstGeom prst="rect">
            <a:avLst/>
          </a:prstGeom>
          <a:solidFill>
            <a:srgbClr val="D6D6D8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529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_Tex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1B2998BE-FCAE-FD85-B38D-84A2CB50F7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0612" y="1627132"/>
            <a:ext cx="2251186" cy="1935577"/>
          </a:xfrm>
          <a:custGeom>
            <a:avLst/>
            <a:gdLst>
              <a:gd name="connsiteX0" fmla="*/ 0 w 2887429"/>
              <a:gd name="connsiteY0" fmla="*/ 0 h 2324207"/>
              <a:gd name="connsiteX1" fmla="*/ 2887429 w 2887429"/>
              <a:gd name="connsiteY1" fmla="*/ 0 h 2324207"/>
              <a:gd name="connsiteX2" fmla="*/ 2887429 w 2887429"/>
              <a:gd name="connsiteY2" fmla="*/ 38156 h 2324207"/>
              <a:gd name="connsiteX3" fmla="*/ 2763245 w 2887429"/>
              <a:gd name="connsiteY3" fmla="*/ 38156 h 2324207"/>
              <a:gd name="connsiteX4" fmla="*/ 2763245 w 2887429"/>
              <a:gd name="connsiteY4" fmla="*/ 1014410 h 2324207"/>
              <a:gd name="connsiteX5" fmla="*/ 2887429 w 2887429"/>
              <a:gd name="connsiteY5" fmla="*/ 987370 h 2324207"/>
              <a:gd name="connsiteX6" fmla="*/ 2887429 w 2887429"/>
              <a:gd name="connsiteY6" fmla="*/ 2324207 h 2324207"/>
              <a:gd name="connsiteX7" fmla="*/ 0 w 2887429"/>
              <a:gd name="connsiteY7" fmla="*/ 2324207 h 2324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87429" h="2324207">
                <a:moveTo>
                  <a:pt x="0" y="0"/>
                </a:moveTo>
                <a:lnTo>
                  <a:pt x="2887429" y="0"/>
                </a:lnTo>
                <a:lnTo>
                  <a:pt x="2887429" y="38156"/>
                </a:lnTo>
                <a:lnTo>
                  <a:pt x="2763245" y="38156"/>
                </a:lnTo>
                <a:lnTo>
                  <a:pt x="2763245" y="1014410"/>
                </a:lnTo>
                <a:lnTo>
                  <a:pt x="2887429" y="987370"/>
                </a:lnTo>
                <a:lnTo>
                  <a:pt x="2887429" y="2324207"/>
                </a:lnTo>
                <a:lnTo>
                  <a:pt x="0" y="23242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6FFF41-AD09-D2B7-5C95-17E0F1F6B9D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9DAD699-AB52-ABEC-500F-0B5CA694925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16CFD12-2550-8003-8A98-D8657E0071F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DED5CCF7-1EA3-C754-6FAE-E8D8659CC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Rectangle 17">
            <a:extLst>
              <a:ext uri="{FF2B5EF4-FFF2-40B4-BE49-F238E27FC236}">
                <a16:creationId xmlns:a16="http://schemas.microsoft.com/office/drawing/2014/main" id="{2CDA41EE-CD8F-AAFA-8964-3604E76AEBDF}"/>
              </a:ext>
            </a:extLst>
          </p:cNvPr>
          <p:cNvSpPr/>
          <p:nvPr userDrawn="1"/>
        </p:nvSpPr>
        <p:spPr>
          <a:xfrm>
            <a:off x="760612" y="3562707"/>
            <a:ext cx="2251186" cy="2489279"/>
          </a:xfrm>
          <a:prstGeom prst="rect">
            <a:avLst/>
          </a:pr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19" name="Rechteck 57">
            <a:extLst>
              <a:ext uri="{FF2B5EF4-FFF2-40B4-BE49-F238E27FC236}">
                <a16:creationId xmlns:a16="http://schemas.microsoft.com/office/drawing/2014/main" id="{A9126E5E-B649-083C-6C99-DB527F41E90B}"/>
              </a:ext>
            </a:extLst>
          </p:cNvPr>
          <p:cNvSpPr/>
          <p:nvPr userDrawn="1"/>
        </p:nvSpPr>
        <p:spPr>
          <a:xfrm>
            <a:off x="2888308" y="1665287"/>
            <a:ext cx="248367" cy="976254"/>
          </a:xfrm>
          <a:custGeom>
            <a:avLst/>
            <a:gdLst>
              <a:gd name="connsiteX0" fmla="*/ 0 w 957394"/>
              <a:gd name="connsiteY0" fmla="*/ 0 h 4126727"/>
              <a:gd name="connsiteX1" fmla="*/ 957394 w 957394"/>
              <a:gd name="connsiteY1" fmla="*/ 0 h 4126727"/>
              <a:gd name="connsiteX2" fmla="*/ 957394 w 957394"/>
              <a:gd name="connsiteY2" fmla="*/ 4126727 h 4126727"/>
              <a:gd name="connsiteX3" fmla="*/ 0 w 957394"/>
              <a:gd name="connsiteY3" fmla="*/ 4126727 h 4126727"/>
              <a:gd name="connsiteX4" fmla="*/ 0 w 957394"/>
              <a:gd name="connsiteY4" fmla="*/ 0 h 4126727"/>
              <a:gd name="connsiteX0" fmla="*/ 0 w 981457"/>
              <a:gd name="connsiteY0" fmla="*/ 0 h 4126727"/>
              <a:gd name="connsiteX1" fmla="*/ 957394 w 981457"/>
              <a:gd name="connsiteY1" fmla="*/ 0 h 4126727"/>
              <a:gd name="connsiteX2" fmla="*/ 981457 w 981457"/>
              <a:gd name="connsiteY2" fmla="*/ 3946254 h 4126727"/>
              <a:gd name="connsiteX3" fmla="*/ 0 w 981457"/>
              <a:gd name="connsiteY3" fmla="*/ 4126727 h 4126727"/>
              <a:gd name="connsiteX4" fmla="*/ 0 w 981457"/>
              <a:gd name="connsiteY4" fmla="*/ 0 h 4126727"/>
              <a:gd name="connsiteX0" fmla="*/ 0 w 981457"/>
              <a:gd name="connsiteY0" fmla="*/ 0 h 4126727"/>
              <a:gd name="connsiteX1" fmla="*/ 957394 w 981457"/>
              <a:gd name="connsiteY1" fmla="*/ 0 h 4126727"/>
              <a:gd name="connsiteX2" fmla="*/ 981457 w 981457"/>
              <a:gd name="connsiteY2" fmla="*/ 3934222 h 4126727"/>
              <a:gd name="connsiteX3" fmla="*/ 0 w 981457"/>
              <a:gd name="connsiteY3" fmla="*/ 4126727 h 4126727"/>
              <a:gd name="connsiteX4" fmla="*/ 0 w 981457"/>
              <a:gd name="connsiteY4" fmla="*/ 0 h 4126727"/>
              <a:gd name="connsiteX0" fmla="*/ 0 w 970337"/>
              <a:gd name="connsiteY0" fmla="*/ 0 h 4126727"/>
              <a:gd name="connsiteX1" fmla="*/ 957394 w 970337"/>
              <a:gd name="connsiteY1" fmla="*/ 0 h 4126727"/>
              <a:gd name="connsiteX2" fmla="*/ 970337 w 970337"/>
              <a:gd name="connsiteY2" fmla="*/ 3898127 h 4126727"/>
              <a:gd name="connsiteX3" fmla="*/ 0 w 970337"/>
              <a:gd name="connsiteY3" fmla="*/ 4126727 h 4126727"/>
              <a:gd name="connsiteX4" fmla="*/ 0 w 970337"/>
              <a:gd name="connsiteY4" fmla="*/ 0 h 4126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0337" h="4126727">
                <a:moveTo>
                  <a:pt x="0" y="0"/>
                </a:moveTo>
                <a:lnTo>
                  <a:pt x="957394" y="0"/>
                </a:lnTo>
                <a:cubicBezTo>
                  <a:pt x="961708" y="1299376"/>
                  <a:pt x="966023" y="2598751"/>
                  <a:pt x="970337" y="3898127"/>
                </a:cubicBezTo>
                <a:lnTo>
                  <a:pt x="0" y="4126727"/>
                </a:lnTo>
                <a:lnTo>
                  <a:pt x="0" y="0"/>
                </a:lnTo>
                <a:close/>
              </a:path>
            </a:pathLst>
          </a:cu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E036F9C3-AB95-7DA2-1BD7-27B5FC2820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350" y="3717985"/>
            <a:ext cx="1830597" cy="2200215"/>
          </a:xfrm>
        </p:spPr>
        <p:txBody>
          <a:bodyPr anchor="ctr"/>
          <a:lstStyle>
            <a:lvl1pPr>
              <a:defRPr sz="1200">
                <a:solidFill>
                  <a:srgbClr val="1E242B"/>
                </a:solidFill>
              </a:defRPr>
            </a:lvl1pPr>
            <a:lvl2pPr>
              <a:defRPr sz="1200">
                <a:solidFill>
                  <a:srgbClr val="1E242B"/>
                </a:solidFill>
              </a:defRPr>
            </a:lvl2pPr>
            <a:lvl3pPr>
              <a:defRPr sz="1200">
                <a:solidFill>
                  <a:srgbClr val="1E242B"/>
                </a:solidFill>
              </a:defRPr>
            </a:lvl3pPr>
            <a:lvl4pPr>
              <a:defRPr sz="1100">
                <a:solidFill>
                  <a:srgbClr val="1E242B"/>
                </a:solidFill>
              </a:defRPr>
            </a:lvl4pPr>
            <a:lvl5pPr>
              <a:defRPr sz="11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Bildplatzhalter 17">
            <a:extLst>
              <a:ext uri="{FF2B5EF4-FFF2-40B4-BE49-F238E27FC236}">
                <a16:creationId xmlns:a16="http://schemas.microsoft.com/office/drawing/2014/main" id="{D2FC58E1-A0AE-0486-4A73-C4BE2779B96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70925" y="1627131"/>
            <a:ext cx="2250000" cy="1935577"/>
          </a:xfrm>
          <a:custGeom>
            <a:avLst/>
            <a:gdLst>
              <a:gd name="connsiteX0" fmla="*/ 0 w 2887429"/>
              <a:gd name="connsiteY0" fmla="*/ 0 h 2324207"/>
              <a:gd name="connsiteX1" fmla="*/ 2887429 w 2887429"/>
              <a:gd name="connsiteY1" fmla="*/ 0 h 2324207"/>
              <a:gd name="connsiteX2" fmla="*/ 2887429 w 2887429"/>
              <a:gd name="connsiteY2" fmla="*/ 38156 h 2324207"/>
              <a:gd name="connsiteX3" fmla="*/ 2763245 w 2887429"/>
              <a:gd name="connsiteY3" fmla="*/ 38156 h 2324207"/>
              <a:gd name="connsiteX4" fmla="*/ 2763245 w 2887429"/>
              <a:gd name="connsiteY4" fmla="*/ 1014410 h 2324207"/>
              <a:gd name="connsiteX5" fmla="*/ 2887429 w 2887429"/>
              <a:gd name="connsiteY5" fmla="*/ 987370 h 2324207"/>
              <a:gd name="connsiteX6" fmla="*/ 2887429 w 2887429"/>
              <a:gd name="connsiteY6" fmla="*/ 2324207 h 2324207"/>
              <a:gd name="connsiteX7" fmla="*/ 0 w 2887429"/>
              <a:gd name="connsiteY7" fmla="*/ 2324207 h 2324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87429" h="2324207">
                <a:moveTo>
                  <a:pt x="0" y="0"/>
                </a:moveTo>
                <a:lnTo>
                  <a:pt x="2887429" y="0"/>
                </a:lnTo>
                <a:lnTo>
                  <a:pt x="2887429" y="38156"/>
                </a:lnTo>
                <a:lnTo>
                  <a:pt x="2763245" y="38156"/>
                </a:lnTo>
                <a:lnTo>
                  <a:pt x="2763245" y="1014410"/>
                </a:lnTo>
                <a:lnTo>
                  <a:pt x="2887429" y="987370"/>
                </a:lnTo>
                <a:lnTo>
                  <a:pt x="2887429" y="2324207"/>
                </a:lnTo>
                <a:lnTo>
                  <a:pt x="0" y="23242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" name="Rectangle 17">
            <a:extLst>
              <a:ext uri="{FF2B5EF4-FFF2-40B4-BE49-F238E27FC236}">
                <a16:creationId xmlns:a16="http://schemas.microsoft.com/office/drawing/2014/main" id="{FE3A9C83-421E-B796-D44C-1B2434D943BE}"/>
              </a:ext>
            </a:extLst>
          </p:cNvPr>
          <p:cNvSpPr/>
          <p:nvPr userDrawn="1"/>
        </p:nvSpPr>
        <p:spPr>
          <a:xfrm>
            <a:off x="3472312" y="3562708"/>
            <a:ext cx="2250000" cy="2489279"/>
          </a:xfrm>
          <a:prstGeom prst="rect">
            <a:avLst/>
          </a:pr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5" name="Rechteck 57">
            <a:extLst>
              <a:ext uri="{FF2B5EF4-FFF2-40B4-BE49-F238E27FC236}">
                <a16:creationId xmlns:a16="http://schemas.microsoft.com/office/drawing/2014/main" id="{CE901082-5D74-ED1A-4E35-5C6FE3A50857}"/>
              </a:ext>
            </a:extLst>
          </p:cNvPr>
          <p:cNvSpPr/>
          <p:nvPr userDrawn="1"/>
        </p:nvSpPr>
        <p:spPr>
          <a:xfrm>
            <a:off x="5589051" y="1665287"/>
            <a:ext cx="248367" cy="976254"/>
          </a:xfrm>
          <a:custGeom>
            <a:avLst/>
            <a:gdLst>
              <a:gd name="connsiteX0" fmla="*/ 0 w 957394"/>
              <a:gd name="connsiteY0" fmla="*/ 0 h 4126727"/>
              <a:gd name="connsiteX1" fmla="*/ 957394 w 957394"/>
              <a:gd name="connsiteY1" fmla="*/ 0 h 4126727"/>
              <a:gd name="connsiteX2" fmla="*/ 957394 w 957394"/>
              <a:gd name="connsiteY2" fmla="*/ 4126727 h 4126727"/>
              <a:gd name="connsiteX3" fmla="*/ 0 w 957394"/>
              <a:gd name="connsiteY3" fmla="*/ 4126727 h 4126727"/>
              <a:gd name="connsiteX4" fmla="*/ 0 w 957394"/>
              <a:gd name="connsiteY4" fmla="*/ 0 h 4126727"/>
              <a:gd name="connsiteX0" fmla="*/ 0 w 981457"/>
              <a:gd name="connsiteY0" fmla="*/ 0 h 4126727"/>
              <a:gd name="connsiteX1" fmla="*/ 957394 w 981457"/>
              <a:gd name="connsiteY1" fmla="*/ 0 h 4126727"/>
              <a:gd name="connsiteX2" fmla="*/ 981457 w 981457"/>
              <a:gd name="connsiteY2" fmla="*/ 3946254 h 4126727"/>
              <a:gd name="connsiteX3" fmla="*/ 0 w 981457"/>
              <a:gd name="connsiteY3" fmla="*/ 4126727 h 4126727"/>
              <a:gd name="connsiteX4" fmla="*/ 0 w 981457"/>
              <a:gd name="connsiteY4" fmla="*/ 0 h 4126727"/>
              <a:gd name="connsiteX0" fmla="*/ 0 w 981457"/>
              <a:gd name="connsiteY0" fmla="*/ 0 h 4126727"/>
              <a:gd name="connsiteX1" fmla="*/ 957394 w 981457"/>
              <a:gd name="connsiteY1" fmla="*/ 0 h 4126727"/>
              <a:gd name="connsiteX2" fmla="*/ 981457 w 981457"/>
              <a:gd name="connsiteY2" fmla="*/ 3934222 h 4126727"/>
              <a:gd name="connsiteX3" fmla="*/ 0 w 981457"/>
              <a:gd name="connsiteY3" fmla="*/ 4126727 h 4126727"/>
              <a:gd name="connsiteX4" fmla="*/ 0 w 981457"/>
              <a:gd name="connsiteY4" fmla="*/ 0 h 4126727"/>
              <a:gd name="connsiteX0" fmla="*/ 0 w 970337"/>
              <a:gd name="connsiteY0" fmla="*/ 0 h 4126727"/>
              <a:gd name="connsiteX1" fmla="*/ 957394 w 970337"/>
              <a:gd name="connsiteY1" fmla="*/ 0 h 4126727"/>
              <a:gd name="connsiteX2" fmla="*/ 970337 w 970337"/>
              <a:gd name="connsiteY2" fmla="*/ 3898127 h 4126727"/>
              <a:gd name="connsiteX3" fmla="*/ 0 w 970337"/>
              <a:gd name="connsiteY3" fmla="*/ 4126727 h 4126727"/>
              <a:gd name="connsiteX4" fmla="*/ 0 w 970337"/>
              <a:gd name="connsiteY4" fmla="*/ 0 h 4126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0337" h="4126727">
                <a:moveTo>
                  <a:pt x="0" y="0"/>
                </a:moveTo>
                <a:lnTo>
                  <a:pt x="957394" y="0"/>
                </a:lnTo>
                <a:cubicBezTo>
                  <a:pt x="961708" y="1299376"/>
                  <a:pt x="966023" y="2598751"/>
                  <a:pt x="970337" y="3898127"/>
                </a:cubicBezTo>
                <a:lnTo>
                  <a:pt x="0" y="4126727"/>
                </a:lnTo>
                <a:lnTo>
                  <a:pt x="0" y="0"/>
                </a:lnTo>
                <a:close/>
              </a:path>
            </a:pathLst>
          </a:cu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</p:txBody>
      </p:sp>
      <p:sp>
        <p:nvSpPr>
          <p:cNvPr id="7" name="Textplatzhalter 22">
            <a:extLst>
              <a:ext uri="{FF2B5EF4-FFF2-40B4-BE49-F238E27FC236}">
                <a16:creationId xmlns:a16="http://schemas.microsoft.com/office/drawing/2014/main" id="{DE0A4A10-3AB3-DDEA-0C02-ECD16765CED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05663" y="3717984"/>
            <a:ext cx="1830597" cy="2200215"/>
          </a:xfrm>
        </p:spPr>
        <p:txBody>
          <a:bodyPr anchor="ctr"/>
          <a:lstStyle>
            <a:lvl1pPr>
              <a:defRPr sz="1200">
                <a:solidFill>
                  <a:srgbClr val="1E242B"/>
                </a:solidFill>
              </a:defRPr>
            </a:lvl1pPr>
            <a:lvl2pPr>
              <a:defRPr sz="1200">
                <a:solidFill>
                  <a:srgbClr val="1E242B"/>
                </a:solidFill>
              </a:defRPr>
            </a:lvl2pPr>
            <a:lvl3pPr>
              <a:defRPr sz="1200">
                <a:solidFill>
                  <a:srgbClr val="1E242B"/>
                </a:solidFill>
              </a:defRPr>
            </a:lvl3pPr>
            <a:lvl4pPr>
              <a:defRPr sz="1100">
                <a:solidFill>
                  <a:srgbClr val="1E242B"/>
                </a:solidFill>
              </a:defRPr>
            </a:lvl4pPr>
            <a:lvl5pPr>
              <a:defRPr sz="11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Bildplatzhalter 17">
            <a:extLst>
              <a:ext uri="{FF2B5EF4-FFF2-40B4-BE49-F238E27FC236}">
                <a16:creationId xmlns:a16="http://schemas.microsoft.com/office/drawing/2014/main" id="{E042C55D-9546-4286-4764-EFC19F8F887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24175" y="1627131"/>
            <a:ext cx="2250000" cy="1935577"/>
          </a:xfrm>
          <a:custGeom>
            <a:avLst/>
            <a:gdLst>
              <a:gd name="connsiteX0" fmla="*/ 0 w 2887429"/>
              <a:gd name="connsiteY0" fmla="*/ 0 h 2324207"/>
              <a:gd name="connsiteX1" fmla="*/ 2887429 w 2887429"/>
              <a:gd name="connsiteY1" fmla="*/ 0 h 2324207"/>
              <a:gd name="connsiteX2" fmla="*/ 2887429 w 2887429"/>
              <a:gd name="connsiteY2" fmla="*/ 38156 h 2324207"/>
              <a:gd name="connsiteX3" fmla="*/ 2763245 w 2887429"/>
              <a:gd name="connsiteY3" fmla="*/ 38156 h 2324207"/>
              <a:gd name="connsiteX4" fmla="*/ 2763245 w 2887429"/>
              <a:gd name="connsiteY4" fmla="*/ 1014410 h 2324207"/>
              <a:gd name="connsiteX5" fmla="*/ 2887429 w 2887429"/>
              <a:gd name="connsiteY5" fmla="*/ 987370 h 2324207"/>
              <a:gd name="connsiteX6" fmla="*/ 2887429 w 2887429"/>
              <a:gd name="connsiteY6" fmla="*/ 2324207 h 2324207"/>
              <a:gd name="connsiteX7" fmla="*/ 0 w 2887429"/>
              <a:gd name="connsiteY7" fmla="*/ 2324207 h 2324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87429" h="2324207">
                <a:moveTo>
                  <a:pt x="0" y="0"/>
                </a:moveTo>
                <a:lnTo>
                  <a:pt x="2887429" y="0"/>
                </a:lnTo>
                <a:lnTo>
                  <a:pt x="2887429" y="38156"/>
                </a:lnTo>
                <a:lnTo>
                  <a:pt x="2763245" y="38156"/>
                </a:lnTo>
                <a:lnTo>
                  <a:pt x="2763245" y="1014410"/>
                </a:lnTo>
                <a:lnTo>
                  <a:pt x="2887429" y="987370"/>
                </a:lnTo>
                <a:lnTo>
                  <a:pt x="2887429" y="2324207"/>
                </a:lnTo>
                <a:lnTo>
                  <a:pt x="0" y="23242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9DACE6FD-1D0C-49C6-FFA4-A31E242388AF}"/>
              </a:ext>
            </a:extLst>
          </p:cNvPr>
          <p:cNvSpPr/>
          <p:nvPr userDrawn="1"/>
        </p:nvSpPr>
        <p:spPr>
          <a:xfrm>
            <a:off x="6325562" y="3562708"/>
            <a:ext cx="2250000" cy="2489279"/>
          </a:xfrm>
          <a:prstGeom prst="rect">
            <a:avLst/>
          </a:pr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15" name="Rechteck 57">
            <a:extLst>
              <a:ext uri="{FF2B5EF4-FFF2-40B4-BE49-F238E27FC236}">
                <a16:creationId xmlns:a16="http://schemas.microsoft.com/office/drawing/2014/main" id="{A2B44F1D-55B5-7E5D-199E-92419B2B95E7}"/>
              </a:ext>
            </a:extLst>
          </p:cNvPr>
          <p:cNvSpPr/>
          <p:nvPr userDrawn="1"/>
        </p:nvSpPr>
        <p:spPr>
          <a:xfrm>
            <a:off x="8447706" y="1665287"/>
            <a:ext cx="248367" cy="976254"/>
          </a:xfrm>
          <a:custGeom>
            <a:avLst/>
            <a:gdLst>
              <a:gd name="connsiteX0" fmla="*/ 0 w 957394"/>
              <a:gd name="connsiteY0" fmla="*/ 0 h 4126727"/>
              <a:gd name="connsiteX1" fmla="*/ 957394 w 957394"/>
              <a:gd name="connsiteY1" fmla="*/ 0 h 4126727"/>
              <a:gd name="connsiteX2" fmla="*/ 957394 w 957394"/>
              <a:gd name="connsiteY2" fmla="*/ 4126727 h 4126727"/>
              <a:gd name="connsiteX3" fmla="*/ 0 w 957394"/>
              <a:gd name="connsiteY3" fmla="*/ 4126727 h 4126727"/>
              <a:gd name="connsiteX4" fmla="*/ 0 w 957394"/>
              <a:gd name="connsiteY4" fmla="*/ 0 h 4126727"/>
              <a:gd name="connsiteX0" fmla="*/ 0 w 981457"/>
              <a:gd name="connsiteY0" fmla="*/ 0 h 4126727"/>
              <a:gd name="connsiteX1" fmla="*/ 957394 w 981457"/>
              <a:gd name="connsiteY1" fmla="*/ 0 h 4126727"/>
              <a:gd name="connsiteX2" fmla="*/ 981457 w 981457"/>
              <a:gd name="connsiteY2" fmla="*/ 3946254 h 4126727"/>
              <a:gd name="connsiteX3" fmla="*/ 0 w 981457"/>
              <a:gd name="connsiteY3" fmla="*/ 4126727 h 4126727"/>
              <a:gd name="connsiteX4" fmla="*/ 0 w 981457"/>
              <a:gd name="connsiteY4" fmla="*/ 0 h 4126727"/>
              <a:gd name="connsiteX0" fmla="*/ 0 w 981457"/>
              <a:gd name="connsiteY0" fmla="*/ 0 h 4126727"/>
              <a:gd name="connsiteX1" fmla="*/ 957394 w 981457"/>
              <a:gd name="connsiteY1" fmla="*/ 0 h 4126727"/>
              <a:gd name="connsiteX2" fmla="*/ 981457 w 981457"/>
              <a:gd name="connsiteY2" fmla="*/ 3934222 h 4126727"/>
              <a:gd name="connsiteX3" fmla="*/ 0 w 981457"/>
              <a:gd name="connsiteY3" fmla="*/ 4126727 h 4126727"/>
              <a:gd name="connsiteX4" fmla="*/ 0 w 981457"/>
              <a:gd name="connsiteY4" fmla="*/ 0 h 4126727"/>
              <a:gd name="connsiteX0" fmla="*/ 0 w 970337"/>
              <a:gd name="connsiteY0" fmla="*/ 0 h 4126727"/>
              <a:gd name="connsiteX1" fmla="*/ 957394 w 970337"/>
              <a:gd name="connsiteY1" fmla="*/ 0 h 4126727"/>
              <a:gd name="connsiteX2" fmla="*/ 970337 w 970337"/>
              <a:gd name="connsiteY2" fmla="*/ 3898127 h 4126727"/>
              <a:gd name="connsiteX3" fmla="*/ 0 w 970337"/>
              <a:gd name="connsiteY3" fmla="*/ 4126727 h 4126727"/>
              <a:gd name="connsiteX4" fmla="*/ 0 w 970337"/>
              <a:gd name="connsiteY4" fmla="*/ 0 h 4126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0337" h="4126727">
                <a:moveTo>
                  <a:pt x="0" y="0"/>
                </a:moveTo>
                <a:lnTo>
                  <a:pt x="957394" y="0"/>
                </a:lnTo>
                <a:cubicBezTo>
                  <a:pt x="961708" y="1299376"/>
                  <a:pt x="966023" y="2598751"/>
                  <a:pt x="970337" y="3898127"/>
                </a:cubicBezTo>
                <a:lnTo>
                  <a:pt x="0" y="4126727"/>
                </a:lnTo>
                <a:lnTo>
                  <a:pt x="0" y="0"/>
                </a:lnTo>
                <a:close/>
              </a:path>
            </a:pathLst>
          </a:cu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</p:txBody>
      </p:sp>
      <p:sp>
        <p:nvSpPr>
          <p:cNvPr id="22" name="Textplatzhalter 22">
            <a:extLst>
              <a:ext uri="{FF2B5EF4-FFF2-40B4-BE49-F238E27FC236}">
                <a16:creationId xmlns:a16="http://schemas.microsoft.com/office/drawing/2014/main" id="{E12CEBE6-CC7A-AFC3-CAAD-BE2EBE99FC4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58913" y="3717984"/>
            <a:ext cx="1830597" cy="2200215"/>
          </a:xfrm>
        </p:spPr>
        <p:txBody>
          <a:bodyPr anchor="ctr"/>
          <a:lstStyle>
            <a:lvl1pPr>
              <a:defRPr sz="1200">
                <a:solidFill>
                  <a:srgbClr val="1E242B"/>
                </a:solidFill>
              </a:defRPr>
            </a:lvl1pPr>
            <a:lvl2pPr>
              <a:defRPr sz="1200">
                <a:solidFill>
                  <a:srgbClr val="1E242B"/>
                </a:solidFill>
              </a:defRPr>
            </a:lvl2pPr>
            <a:lvl3pPr>
              <a:defRPr sz="1200">
                <a:solidFill>
                  <a:srgbClr val="1E242B"/>
                </a:solidFill>
              </a:defRPr>
            </a:lvl3pPr>
            <a:lvl4pPr>
              <a:defRPr sz="1100">
                <a:solidFill>
                  <a:srgbClr val="1E242B"/>
                </a:solidFill>
              </a:defRPr>
            </a:lvl4pPr>
            <a:lvl5pPr>
              <a:defRPr sz="11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6" name="Bildplatzhalter 17">
            <a:extLst>
              <a:ext uri="{FF2B5EF4-FFF2-40B4-BE49-F238E27FC236}">
                <a16:creationId xmlns:a16="http://schemas.microsoft.com/office/drawing/2014/main" id="{A10E4603-6536-6B5D-B233-23AED97D496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77426" y="1627132"/>
            <a:ext cx="2250000" cy="1935577"/>
          </a:xfrm>
          <a:custGeom>
            <a:avLst/>
            <a:gdLst>
              <a:gd name="connsiteX0" fmla="*/ 0 w 2887429"/>
              <a:gd name="connsiteY0" fmla="*/ 0 h 2324207"/>
              <a:gd name="connsiteX1" fmla="*/ 2887429 w 2887429"/>
              <a:gd name="connsiteY1" fmla="*/ 0 h 2324207"/>
              <a:gd name="connsiteX2" fmla="*/ 2887429 w 2887429"/>
              <a:gd name="connsiteY2" fmla="*/ 38156 h 2324207"/>
              <a:gd name="connsiteX3" fmla="*/ 2763245 w 2887429"/>
              <a:gd name="connsiteY3" fmla="*/ 38156 h 2324207"/>
              <a:gd name="connsiteX4" fmla="*/ 2763245 w 2887429"/>
              <a:gd name="connsiteY4" fmla="*/ 1014410 h 2324207"/>
              <a:gd name="connsiteX5" fmla="*/ 2887429 w 2887429"/>
              <a:gd name="connsiteY5" fmla="*/ 987370 h 2324207"/>
              <a:gd name="connsiteX6" fmla="*/ 2887429 w 2887429"/>
              <a:gd name="connsiteY6" fmla="*/ 2324207 h 2324207"/>
              <a:gd name="connsiteX7" fmla="*/ 0 w 2887429"/>
              <a:gd name="connsiteY7" fmla="*/ 2324207 h 2324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87429" h="2324207">
                <a:moveTo>
                  <a:pt x="0" y="0"/>
                </a:moveTo>
                <a:lnTo>
                  <a:pt x="2887429" y="0"/>
                </a:lnTo>
                <a:lnTo>
                  <a:pt x="2887429" y="38156"/>
                </a:lnTo>
                <a:lnTo>
                  <a:pt x="2763245" y="38156"/>
                </a:lnTo>
                <a:lnTo>
                  <a:pt x="2763245" y="1014410"/>
                </a:lnTo>
                <a:lnTo>
                  <a:pt x="2887429" y="987370"/>
                </a:lnTo>
                <a:lnTo>
                  <a:pt x="2887429" y="2324207"/>
                </a:lnTo>
                <a:lnTo>
                  <a:pt x="0" y="23242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27" name="Rectangle 17">
            <a:extLst>
              <a:ext uri="{FF2B5EF4-FFF2-40B4-BE49-F238E27FC236}">
                <a16:creationId xmlns:a16="http://schemas.microsoft.com/office/drawing/2014/main" id="{916A681E-C121-A0AD-AF1E-219512C00E5B}"/>
              </a:ext>
            </a:extLst>
          </p:cNvPr>
          <p:cNvSpPr/>
          <p:nvPr userDrawn="1"/>
        </p:nvSpPr>
        <p:spPr>
          <a:xfrm>
            <a:off x="9178813" y="3562709"/>
            <a:ext cx="2250000" cy="2489279"/>
          </a:xfrm>
          <a:prstGeom prst="rect">
            <a:avLst/>
          </a:pr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Lato Light" panose="020F0502020204030203" pitchFamily="34" charset="0"/>
            </a:endParaRPr>
          </a:p>
          <a:p>
            <a:pPr algn="ctr"/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28" name="Rechteck 57">
            <a:extLst>
              <a:ext uri="{FF2B5EF4-FFF2-40B4-BE49-F238E27FC236}">
                <a16:creationId xmlns:a16="http://schemas.microsoft.com/office/drawing/2014/main" id="{E2F6C9EB-E7AF-D154-080C-B80F48831A99}"/>
              </a:ext>
            </a:extLst>
          </p:cNvPr>
          <p:cNvSpPr/>
          <p:nvPr userDrawn="1"/>
        </p:nvSpPr>
        <p:spPr>
          <a:xfrm>
            <a:off x="11303242" y="1665287"/>
            <a:ext cx="248367" cy="976254"/>
          </a:xfrm>
          <a:custGeom>
            <a:avLst/>
            <a:gdLst>
              <a:gd name="connsiteX0" fmla="*/ 0 w 957394"/>
              <a:gd name="connsiteY0" fmla="*/ 0 h 4126727"/>
              <a:gd name="connsiteX1" fmla="*/ 957394 w 957394"/>
              <a:gd name="connsiteY1" fmla="*/ 0 h 4126727"/>
              <a:gd name="connsiteX2" fmla="*/ 957394 w 957394"/>
              <a:gd name="connsiteY2" fmla="*/ 4126727 h 4126727"/>
              <a:gd name="connsiteX3" fmla="*/ 0 w 957394"/>
              <a:gd name="connsiteY3" fmla="*/ 4126727 h 4126727"/>
              <a:gd name="connsiteX4" fmla="*/ 0 w 957394"/>
              <a:gd name="connsiteY4" fmla="*/ 0 h 4126727"/>
              <a:gd name="connsiteX0" fmla="*/ 0 w 981457"/>
              <a:gd name="connsiteY0" fmla="*/ 0 h 4126727"/>
              <a:gd name="connsiteX1" fmla="*/ 957394 w 981457"/>
              <a:gd name="connsiteY1" fmla="*/ 0 h 4126727"/>
              <a:gd name="connsiteX2" fmla="*/ 981457 w 981457"/>
              <a:gd name="connsiteY2" fmla="*/ 3946254 h 4126727"/>
              <a:gd name="connsiteX3" fmla="*/ 0 w 981457"/>
              <a:gd name="connsiteY3" fmla="*/ 4126727 h 4126727"/>
              <a:gd name="connsiteX4" fmla="*/ 0 w 981457"/>
              <a:gd name="connsiteY4" fmla="*/ 0 h 4126727"/>
              <a:gd name="connsiteX0" fmla="*/ 0 w 981457"/>
              <a:gd name="connsiteY0" fmla="*/ 0 h 4126727"/>
              <a:gd name="connsiteX1" fmla="*/ 957394 w 981457"/>
              <a:gd name="connsiteY1" fmla="*/ 0 h 4126727"/>
              <a:gd name="connsiteX2" fmla="*/ 981457 w 981457"/>
              <a:gd name="connsiteY2" fmla="*/ 3934222 h 4126727"/>
              <a:gd name="connsiteX3" fmla="*/ 0 w 981457"/>
              <a:gd name="connsiteY3" fmla="*/ 4126727 h 4126727"/>
              <a:gd name="connsiteX4" fmla="*/ 0 w 981457"/>
              <a:gd name="connsiteY4" fmla="*/ 0 h 4126727"/>
              <a:gd name="connsiteX0" fmla="*/ 0 w 970337"/>
              <a:gd name="connsiteY0" fmla="*/ 0 h 4126727"/>
              <a:gd name="connsiteX1" fmla="*/ 957394 w 970337"/>
              <a:gd name="connsiteY1" fmla="*/ 0 h 4126727"/>
              <a:gd name="connsiteX2" fmla="*/ 970337 w 970337"/>
              <a:gd name="connsiteY2" fmla="*/ 3898127 h 4126727"/>
              <a:gd name="connsiteX3" fmla="*/ 0 w 970337"/>
              <a:gd name="connsiteY3" fmla="*/ 4126727 h 4126727"/>
              <a:gd name="connsiteX4" fmla="*/ 0 w 970337"/>
              <a:gd name="connsiteY4" fmla="*/ 0 h 4126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0337" h="4126727">
                <a:moveTo>
                  <a:pt x="0" y="0"/>
                </a:moveTo>
                <a:lnTo>
                  <a:pt x="957394" y="0"/>
                </a:lnTo>
                <a:cubicBezTo>
                  <a:pt x="961708" y="1299376"/>
                  <a:pt x="966023" y="2598751"/>
                  <a:pt x="970337" y="3898127"/>
                </a:cubicBezTo>
                <a:lnTo>
                  <a:pt x="0" y="4126727"/>
                </a:lnTo>
                <a:lnTo>
                  <a:pt x="0" y="0"/>
                </a:lnTo>
                <a:close/>
              </a:path>
            </a:pathLst>
          </a:cu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</p:txBody>
      </p:sp>
      <p:sp>
        <p:nvSpPr>
          <p:cNvPr id="29" name="Textplatzhalter 22">
            <a:extLst>
              <a:ext uri="{FF2B5EF4-FFF2-40B4-BE49-F238E27FC236}">
                <a16:creationId xmlns:a16="http://schemas.microsoft.com/office/drawing/2014/main" id="{C3563B6D-6D05-181C-104C-E5DBCA7CB4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87127" y="3717984"/>
            <a:ext cx="1830597" cy="2200215"/>
          </a:xfrm>
        </p:spPr>
        <p:txBody>
          <a:bodyPr anchor="ctr"/>
          <a:lstStyle>
            <a:lvl1pPr>
              <a:defRPr sz="1200">
                <a:solidFill>
                  <a:srgbClr val="1E242B"/>
                </a:solidFill>
              </a:defRPr>
            </a:lvl1pPr>
            <a:lvl2pPr>
              <a:defRPr sz="1200">
                <a:solidFill>
                  <a:srgbClr val="1E242B"/>
                </a:solidFill>
              </a:defRPr>
            </a:lvl2pPr>
            <a:lvl3pPr>
              <a:defRPr sz="1200">
                <a:solidFill>
                  <a:srgbClr val="1E242B"/>
                </a:solidFill>
              </a:defRPr>
            </a:lvl3pPr>
            <a:lvl4pPr>
              <a:defRPr sz="1100">
                <a:solidFill>
                  <a:srgbClr val="1E242B"/>
                </a:solidFill>
              </a:defRPr>
            </a:lvl4pPr>
            <a:lvl5pPr>
              <a:defRPr sz="11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957964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Tex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620BAEF-0BCB-D8CC-D509-3A9B632FAB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5A2433-F30A-842C-F966-308CAB5BD1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2DF640D-A911-6B6D-70A9-272CF6E5D80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D6A41B0-1AD1-480F-119D-07030308E1C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4754348" y="-8592"/>
            <a:ext cx="7437652" cy="6882085"/>
          </a:xfrm>
          <a:custGeom>
            <a:avLst/>
            <a:gdLst>
              <a:gd name="connsiteX0" fmla="*/ 1337718 w 7437652"/>
              <a:gd name="connsiteY0" fmla="*/ 0 h 6882085"/>
              <a:gd name="connsiteX1" fmla="*/ 7437652 w 7437652"/>
              <a:gd name="connsiteY1" fmla="*/ 0 h 6882085"/>
              <a:gd name="connsiteX2" fmla="*/ 7437652 w 7437652"/>
              <a:gd name="connsiteY2" fmla="*/ 6882085 h 6882085"/>
              <a:gd name="connsiteX3" fmla="*/ 0 w 7437652"/>
              <a:gd name="connsiteY3" fmla="*/ 6882085 h 6882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37652" h="6882085">
                <a:moveTo>
                  <a:pt x="1337718" y="0"/>
                </a:moveTo>
                <a:lnTo>
                  <a:pt x="7437652" y="0"/>
                </a:lnTo>
                <a:lnTo>
                  <a:pt x="7437652" y="6882085"/>
                </a:lnTo>
                <a:lnTo>
                  <a:pt x="0" y="6882085"/>
                </a:lnTo>
                <a:close/>
              </a:path>
            </a:pathLst>
          </a:custGeom>
          <a:solidFill>
            <a:srgbClr val="D6D6D8"/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2FA4C40-73EC-2982-AEBF-2CE9E626FB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7" y="1989138"/>
            <a:ext cx="4170363" cy="3789362"/>
          </a:xfrm>
        </p:spPr>
        <p:txBody>
          <a:bodyPr>
            <a:normAutofit/>
          </a:bodyPr>
          <a:lstStyle>
            <a:lvl1pPr algn="l">
              <a:defRPr sz="1400">
                <a:solidFill>
                  <a:srgbClr val="1E242B"/>
                </a:solidFill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Titel 22">
            <a:extLst>
              <a:ext uri="{FF2B5EF4-FFF2-40B4-BE49-F238E27FC236}">
                <a16:creationId xmlns:a16="http://schemas.microsoft.com/office/drawing/2014/main" id="{001BFB82-5A5E-8F73-4D1D-4A322559B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1019844"/>
            <a:ext cx="4843462" cy="796599"/>
          </a:xfrm>
        </p:spPr>
        <p:txBody>
          <a:bodyPr/>
          <a:lstStyle>
            <a:lvl1pPr>
              <a:defRPr>
                <a:solidFill>
                  <a:srgbClr val="6DC4C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11120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Text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0A1734AE-488E-CC3F-BD93-67398DD7FD2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280150" y="2"/>
            <a:ext cx="5402052" cy="5952147"/>
          </a:xfrm>
          <a:custGeom>
            <a:avLst/>
            <a:gdLst>
              <a:gd name="connsiteX0" fmla="*/ 0 w 5402052"/>
              <a:gd name="connsiteY0" fmla="*/ 0 h 5952147"/>
              <a:gd name="connsiteX1" fmla="*/ 5402052 w 5402052"/>
              <a:gd name="connsiteY1" fmla="*/ 0 h 5952147"/>
              <a:gd name="connsiteX2" fmla="*/ 5402052 w 5402052"/>
              <a:gd name="connsiteY2" fmla="*/ 307437 h 5952147"/>
              <a:gd name="connsiteX3" fmla="*/ 5360487 w 5402052"/>
              <a:gd name="connsiteY3" fmla="*/ 311627 h 5952147"/>
              <a:gd name="connsiteX4" fmla="*/ 5154508 w 5402052"/>
              <a:gd name="connsiteY4" fmla="*/ 564355 h 5952147"/>
              <a:gd name="connsiteX5" fmla="*/ 5360487 w 5402052"/>
              <a:gd name="connsiteY5" fmla="*/ 817083 h 5952147"/>
              <a:gd name="connsiteX6" fmla="*/ 5402052 w 5402052"/>
              <a:gd name="connsiteY6" fmla="*/ 821273 h 5952147"/>
              <a:gd name="connsiteX7" fmla="*/ 5402052 w 5402052"/>
              <a:gd name="connsiteY7" fmla="*/ 4902113 h 5952147"/>
              <a:gd name="connsiteX8" fmla="*/ 0 w 5402052"/>
              <a:gd name="connsiteY8" fmla="*/ 5952147 h 5952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402052" h="5952147">
                <a:moveTo>
                  <a:pt x="0" y="0"/>
                </a:moveTo>
                <a:lnTo>
                  <a:pt x="5402052" y="0"/>
                </a:lnTo>
                <a:lnTo>
                  <a:pt x="5402052" y="307437"/>
                </a:lnTo>
                <a:lnTo>
                  <a:pt x="5360487" y="311627"/>
                </a:lnTo>
                <a:cubicBezTo>
                  <a:pt x="5242935" y="335682"/>
                  <a:pt x="5154508" y="439692"/>
                  <a:pt x="5154508" y="564355"/>
                </a:cubicBezTo>
                <a:cubicBezTo>
                  <a:pt x="5154508" y="689018"/>
                  <a:pt x="5242935" y="793028"/>
                  <a:pt x="5360487" y="817083"/>
                </a:cubicBezTo>
                <a:lnTo>
                  <a:pt x="5402052" y="821273"/>
                </a:lnTo>
                <a:lnTo>
                  <a:pt x="5402052" y="4902113"/>
                </a:lnTo>
                <a:lnTo>
                  <a:pt x="0" y="5952147"/>
                </a:lnTo>
                <a:close/>
              </a:path>
            </a:pathLst>
          </a:custGeom>
          <a:solidFill>
            <a:srgbClr val="D6D6D8"/>
          </a:solidFill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EFC19E2-C1A3-74ED-939A-480568997E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33E6C3-E100-9960-6FA1-52C84E22B0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E21DE81-868A-5E60-C36B-FE7BFEDFBC7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6" name="Textplatzhalter 18">
            <a:extLst>
              <a:ext uri="{FF2B5EF4-FFF2-40B4-BE49-F238E27FC236}">
                <a16:creationId xmlns:a16="http://schemas.microsoft.com/office/drawing/2014/main" id="{EA69A0AB-9B9A-1CBC-6CA3-A37E0BDD45D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7" y="1989138"/>
            <a:ext cx="5395914" cy="4248150"/>
          </a:xfrm>
        </p:spPr>
        <p:txBody>
          <a:bodyPr>
            <a:normAutofit/>
          </a:bodyPr>
          <a:lstStyle>
            <a:lvl1pPr algn="l">
              <a:defRPr sz="1400">
                <a:solidFill>
                  <a:srgbClr val="1E242B"/>
                </a:solidFill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itel 22">
            <a:extLst>
              <a:ext uri="{FF2B5EF4-FFF2-40B4-BE49-F238E27FC236}">
                <a16:creationId xmlns:a16="http://schemas.microsoft.com/office/drawing/2014/main" id="{56BD7A77-67D5-B1C9-3C4A-F5F0D247E4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19844"/>
            <a:ext cx="5400675" cy="796599"/>
          </a:xfrm>
        </p:spPr>
        <p:txBody>
          <a:bodyPr/>
          <a:lstStyle>
            <a:lvl1pPr>
              <a:defRPr>
                <a:solidFill>
                  <a:srgbClr val="6DC4C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76620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0A1734AE-488E-CC3F-BD93-67398DD7FD2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280150" y="2"/>
            <a:ext cx="5402052" cy="5952147"/>
          </a:xfrm>
          <a:custGeom>
            <a:avLst/>
            <a:gdLst>
              <a:gd name="connsiteX0" fmla="*/ 0 w 5402052"/>
              <a:gd name="connsiteY0" fmla="*/ 0 h 5952147"/>
              <a:gd name="connsiteX1" fmla="*/ 5402052 w 5402052"/>
              <a:gd name="connsiteY1" fmla="*/ 0 h 5952147"/>
              <a:gd name="connsiteX2" fmla="*/ 5402052 w 5402052"/>
              <a:gd name="connsiteY2" fmla="*/ 307437 h 5952147"/>
              <a:gd name="connsiteX3" fmla="*/ 5360487 w 5402052"/>
              <a:gd name="connsiteY3" fmla="*/ 311627 h 5952147"/>
              <a:gd name="connsiteX4" fmla="*/ 5154508 w 5402052"/>
              <a:gd name="connsiteY4" fmla="*/ 564355 h 5952147"/>
              <a:gd name="connsiteX5" fmla="*/ 5360487 w 5402052"/>
              <a:gd name="connsiteY5" fmla="*/ 817083 h 5952147"/>
              <a:gd name="connsiteX6" fmla="*/ 5402052 w 5402052"/>
              <a:gd name="connsiteY6" fmla="*/ 821273 h 5952147"/>
              <a:gd name="connsiteX7" fmla="*/ 5402052 w 5402052"/>
              <a:gd name="connsiteY7" fmla="*/ 4902113 h 5952147"/>
              <a:gd name="connsiteX8" fmla="*/ 0 w 5402052"/>
              <a:gd name="connsiteY8" fmla="*/ 5952147 h 5952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402052" h="5952147">
                <a:moveTo>
                  <a:pt x="0" y="0"/>
                </a:moveTo>
                <a:lnTo>
                  <a:pt x="5402052" y="0"/>
                </a:lnTo>
                <a:lnTo>
                  <a:pt x="5402052" y="307437"/>
                </a:lnTo>
                <a:lnTo>
                  <a:pt x="5360487" y="311627"/>
                </a:lnTo>
                <a:cubicBezTo>
                  <a:pt x="5242935" y="335682"/>
                  <a:pt x="5154508" y="439692"/>
                  <a:pt x="5154508" y="564355"/>
                </a:cubicBezTo>
                <a:cubicBezTo>
                  <a:pt x="5154508" y="689018"/>
                  <a:pt x="5242935" y="793028"/>
                  <a:pt x="5360487" y="817083"/>
                </a:cubicBezTo>
                <a:lnTo>
                  <a:pt x="5402052" y="821273"/>
                </a:lnTo>
                <a:lnTo>
                  <a:pt x="5402052" y="4902113"/>
                </a:lnTo>
                <a:lnTo>
                  <a:pt x="0" y="5952147"/>
                </a:lnTo>
                <a:close/>
              </a:path>
            </a:pathLst>
          </a:custGeom>
          <a:solidFill>
            <a:srgbClr val="D6D6D8"/>
          </a:solidFill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065C30A-D037-3D33-B45D-A822D47A10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010888"/>
            <a:ext cx="5400675" cy="79659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Referenz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EFC19E2-C1A3-74ED-939A-480568997E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33E6C3-E100-9960-6FA1-52C84E22B0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E21DE81-868A-5E60-C36B-FE7BFEDFBC7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11" name="Textplatzhalter 25">
            <a:extLst>
              <a:ext uri="{FF2B5EF4-FFF2-40B4-BE49-F238E27FC236}">
                <a16:creationId xmlns:a16="http://schemas.microsoft.com/office/drawing/2014/main" id="{A07FAEA0-288C-41DF-DFE9-63BA08F7D2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1989137"/>
            <a:ext cx="5400675" cy="233363"/>
          </a:xfrm>
        </p:spPr>
        <p:txBody>
          <a:bodyPr>
            <a:normAutofit/>
          </a:bodyPr>
          <a:lstStyle>
            <a:lvl1pPr>
              <a:defRPr>
                <a:solidFill>
                  <a:srgbClr val="6DC4C4"/>
                </a:solidFill>
                <a:latin typeface="+mj-lt"/>
              </a:defRPr>
            </a:lvl1pPr>
          </a:lstStyle>
          <a:p>
            <a:pPr lvl="0"/>
            <a:r>
              <a:rPr lang="de-DE"/>
              <a:t>Kunde:</a:t>
            </a:r>
          </a:p>
        </p:txBody>
      </p:sp>
      <p:sp>
        <p:nvSpPr>
          <p:cNvPr id="12" name="Textplatzhalter 25">
            <a:extLst>
              <a:ext uri="{FF2B5EF4-FFF2-40B4-BE49-F238E27FC236}">
                <a16:creationId xmlns:a16="http://schemas.microsoft.com/office/drawing/2014/main" id="{544F4547-E867-8FE4-9424-76D2451AD83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270312"/>
            <a:ext cx="5400675" cy="548061"/>
          </a:xfrm>
        </p:spPr>
        <p:txBody>
          <a:bodyPr>
            <a:normAutofit/>
          </a:bodyPr>
          <a:lstStyle>
            <a:lvl2pPr marL="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25">
            <a:extLst>
              <a:ext uri="{FF2B5EF4-FFF2-40B4-BE49-F238E27FC236}">
                <a16:creationId xmlns:a16="http://schemas.microsoft.com/office/drawing/2014/main" id="{2B8E5764-1296-9057-B1A2-93F37C9003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2938164"/>
            <a:ext cx="5400675" cy="233363"/>
          </a:xfrm>
        </p:spPr>
        <p:txBody>
          <a:bodyPr>
            <a:normAutofit/>
          </a:bodyPr>
          <a:lstStyle>
            <a:lvl1pPr>
              <a:defRPr>
                <a:solidFill>
                  <a:srgbClr val="6DC4C4"/>
                </a:solidFill>
                <a:latin typeface="+mj-lt"/>
              </a:defRPr>
            </a:lvl1pPr>
          </a:lstStyle>
          <a:p>
            <a:pPr lvl="0"/>
            <a:r>
              <a:rPr lang="de-DE"/>
              <a:t>Projektbeschreibung:</a:t>
            </a:r>
          </a:p>
        </p:txBody>
      </p:sp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7700458F-52D5-A9AD-A479-5A401B827E6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5937" y="3219339"/>
            <a:ext cx="5400676" cy="1277937"/>
          </a:xfrm>
        </p:spPr>
        <p:txBody>
          <a:bodyPr>
            <a:normAutofit/>
          </a:bodyPr>
          <a:lstStyle>
            <a:lvl1pPr algn="l">
              <a:defRPr sz="1400">
                <a:solidFill>
                  <a:srgbClr val="1E242B"/>
                </a:solidFill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Textplatzhalter 25">
            <a:extLst>
              <a:ext uri="{FF2B5EF4-FFF2-40B4-BE49-F238E27FC236}">
                <a16:creationId xmlns:a16="http://schemas.microsoft.com/office/drawing/2014/main" id="{57ADFA56-0DE3-41B8-E55A-A0611B936B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4617067"/>
            <a:ext cx="5400675" cy="233363"/>
          </a:xfrm>
        </p:spPr>
        <p:txBody>
          <a:bodyPr>
            <a:normAutofit/>
          </a:bodyPr>
          <a:lstStyle>
            <a:lvl1pPr>
              <a:defRPr>
                <a:solidFill>
                  <a:srgbClr val="6DC4C4"/>
                </a:solidFill>
                <a:latin typeface="+mj-lt"/>
              </a:defRPr>
            </a:lvl1pPr>
          </a:lstStyle>
          <a:p>
            <a:pPr lvl="0"/>
            <a:r>
              <a:rPr lang="de-DE"/>
              <a:t>Gatter3 Leistungen:</a:t>
            </a:r>
          </a:p>
        </p:txBody>
      </p:sp>
      <p:sp>
        <p:nvSpPr>
          <p:cNvPr id="18" name="Textplatzhalter 18">
            <a:extLst>
              <a:ext uri="{FF2B5EF4-FFF2-40B4-BE49-F238E27FC236}">
                <a16:creationId xmlns:a16="http://schemas.microsoft.com/office/drawing/2014/main" id="{54ABD341-F014-ECBD-BCF6-6E0F6F2FC52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7" y="4898242"/>
            <a:ext cx="5400676" cy="1347280"/>
          </a:xfrm>
        </p:spPr>
        <p:txBody>
          <a:bodyPr>
            <a:normAutofit/>
          </a:bodyPr>
          <a:lstStyle>
            <a:lvl1pPr algn="l">
              <a:defRPr sz="1400">
                <a:solidFill>
                  <a:srgbClr val="1E242B"/>
                </a:solidFill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38248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rei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14301E-B706-C847-2025-2946BA4AB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5A49826-AAAA-CD3C-A39A-2CD00DAEDB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E48539-0E81-B141-1D4D-9560E1CE8B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22D9A0D-59FD-4E6B-F202-FF694EAE2C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774BD286-84EA-56CA-F972-64EC5570A2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937894"/>
            <a:ext cx="2475443" cy="1947862"/>
          </a:xfrm>
          <a:solidFill>
            <a:srgbClr val="D6D6D8"/>
          </a:solidFill>
        </p:spPr>
        <p:txBody>
          <a:bodyPr/>
          <a:lstStyle/>
          <a:p>
            <a:endParaRPr lang="de-DE"/>
          </a:p>
        </p:txBody>
      </p:sp>
      <p:sp>
        <p:nvSpPr>
          <p:cNvPr id="23" name="Bildplatzhalter 14">
            <a:extLst>
              <a:ext uri="{FF2B5EF4-FFF2-40B4-BE49-F238E27FC236}">
                <a16:creationId xmlns:a16="http://schemas.microsoft.com/office/drawing/2014/main" id="{35DA4193-772C-3700-46FC-0C2008F7D87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14299" y="1937894"/>
            <a:ext cx="2475443" cy="1947862"/>
          </a:xfrm>
          <a:solidFill>
            <a:srgbClr val="D6D6D8"/>
          </a:solidFill>
        </p:spPr>
        <p:txBody>
          <a:bodyPr/>
          <a:lstStyle/>
          <a:p>
            <a:endParaRPr lang="de-DE"/>
          </a:p>
        </p:txBody>
      </p:sp>
      <p:sp>
        <p:nvSpPr>
          <p:cNvPr id="24" name="Bildplatzhalter 14">
            <a:extLst>
              <a:ext uri="{FF2B5EF4-FFF2-40B4-BE49-F238E27FC236}">
                <a16:creationId xmlns:a16="http://schemas.microsoft.com/office/drawing/2014/main" id="{3AED85B8-EC9A-E760-0495-6884A2008F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12660" y="1937894"/>
            <a:ext cx="2475443" cy="1947862"/>
          </a:xfrm>
          <a:solidFill>
            <a:srgbClr val="D6D6D8"/>
          </a:solidFill>
        </p:spPr>
        <p:txBody>
          <a:bodyPr/>
          <a:lstStyle/>
          <a:p>
            <a:endParaRPr lang="de-DE"/>
          </a:p>
        </p:txBody>
      </p:sp>
      <p:sp>
        <p:nvSpPr>
          <p:cNvPr id="25" name="Bildplatzhalter 14">
            <a:extLst>
              <a:ext uri="{FF2B5EF4-FFF2-40B4-BE49-F238E27FC236}">
                <a16:creationId xmlns:a16="http://schemas.microsoft.com/office/drawing/2014/main" id="{1961E558-F1AD-C1E8-40EF-6CBAD2591B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11021" y="1937894"/>
            <a:ext cx="2475443" cy="1947862"/>
          </a:xfrm>
          <a:solidFill>
            <a:srgbClr val="D6D6D8"/>
          </a:solidFill>
        </p:spPr>
        <p:txBody>
          <a:bodyPr/>
          <a:lstStyle/>
          <a:p>
            <a:endParaRPr lang="de-DE"/>
          </a:p>
        </p:txBody>
      </p:sp>
      <p:sp>
        <p:nvSpPr>
          <p:cNvPr id="26" name="Bildplatzhalter 14">
            <a:extLst>
              <a:ext uri="{FF2B5EF4-FFF2-40B4-BE49-F238E27FC236}">
                <a16:creationId xmlns:a16="http://schemas.microsoft.com/office/drawing/2014/main" id="{26744CB9-E59F-8336-87D2-CE32D63DD9F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4274694"/>
            <a:ext cx="2475443" cy="1947862"/>
          </a:xfrm>
          <a:solidFill>
            <a:srgbClr val="D6D6D8"/>
          </a:solidFill>
        </p:spPr>
        <p:txBody>
          <a:bodyPr/>
          <a:lstStyle/>
          <a:p>
            <a:endParaRPr lang="de-DE"/>
          </a:p>
        </p:txBody>
      </p:sp>
      <p:sp>
        <p:nvSpPr>
          <p:cNvPr id="27" name="Bildplatzhalter 14">
            <a:extLst>
              <a:ext uri="{FF2B5EF4-FFF2-40B4-BE49-F238E27FC236}">
                <a16:creationId xmlns:a16="http://schemas.microsoft.com/office/drawing/2014/main" id="{2CC92AC3-78AD-B250-723E-AB996A7C790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14299" y="4274694"/>
            <a:ext cx="2475443" cy="1947862"/>
          </a:xfrm>
          <a:solidFill>
            <a:srgbClr val="D6D6D8"/>
          </a:solidFill>
        </p:spPr>
        <p:txBody>
          <a:bodyPr/>
          <a:lstStyle/>
          <a:p>
            <a:endParaRPr lang="de-DE"/>
          </a:p>
        </p:txBody>
      </p:sp>
      <p:sp>
        <p:nvSpPr>
          <p:cNvPr id="28" name="Bildplatzhalter 14">
            <a:extLst>
              <a:ext uri="{FF2B5EF4-FFF2-40B4-BE49-F238E27FC236}">
                <a16:creationId xmlns:a16="http://schemas.microsoft.com/office/drawing/2014/main" id="{F4907CC0-B9D8-3EFE-452A-154A647C16E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12660" y="4274694"/>
            <a:ext cx="2475443" cy="1947862"/>
          </a:xfrm>
          <a:solidFill>
            <a:srgbClr val="D6D6D8"/>
          </a:solidFill>
        </p:spPr>
        <p:txBody>
          <a:bodyPr/>
          <a:lstStyle/>
          <a:p>
            <a:endParaRPr lang="de-DE"/>
          </a:p>
        </p:txBody>
      </p:sp>
      <p:sp>
        <p:nvSpPr>
          <p:cNvPr id="29" name="Bildplatzhalter 14">
            <a:extLst>
              <a:ext uri="{FF2B5EF4-FFF2-40B4-BE49-F238E27FC236}">
                <a16:creationId xmlns:a16="http://schemas.microsoft.com/office/drawing/2014/main" id="{719E47F3-F2B2-6B5A-BB2D-139F06C70A7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211021" y="4274694"/>
            <a:ext cx="2475443" cy="1947862"/>
          </a:xfrm>
          <a:solidFill>
            <a:srgbClr val="D6D6D8"/>
          </a:solidFill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43063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837379-1532-9A48-BB85-CA46BB4E4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508D53B-DD54-EBF9-A009-9B3120BC11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8292968-3AFF-4F79-9D44-F10DA0A326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9F395B-6FEF-740A-DEB3-DB402C3C7F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1198777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CA066BED-B7B9-CD50-15BF-46083FFDA3F6}"/>
              </a:ext>
            </a:extLst>
          </p:cNvPr>
          <p:cNvSpPr/>
          <p:nvPr userDrawn="1"/>
        </p:nvSpPr>
        <p:spPr>
          <a:xfrm>
            <a:off x="5994399" y="0"/>
            <a:ext cx="6197599" cy="6855527"/>
          </a:xfrm>
          <a:custGeom>
            <a:avLst/>
            <a:gdLst>
              <a:gd name="connsiteX0" fmla="*/ 0 w 6197599"/>
              <a:gd name="connsiteY0" fmla="*/ 0 h 6855527"/>
              <a:gd name="connsiteX1" fmla="*/ 6197599 w 6197599"/>
              <a:gd name="connsiteY1" fmla="*/ 0 h 6855527"/>
              <a:gd name="connsiteX2" fmla="*/ 6197599 w 6197599"/>
              <a:gd name="connsiteY2" fmla="*/ 6855527 h 6855527"/>
              <a:gd name="connsiteX3" fmla="*/ 218267 w 6197599"/>
              <a:gd name="connsiteY3" fmla="*/ 6855527 h 6855527"/>
              <a:gd name="connsiteX4" fmla="*/ 1550823 w 6197599"/>
              <a:gd name="connsiteY4" fmla="*/ 1 h 6855527"/>
              <a:gd name="connsiteX5" fmla="*/ 0 w 6197599"/>
              <a:gd name="connsiteY5" fmla="*/ 1 h 6855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7599" h="6855527">
                <a:moveTo>
                  <a:pt x="0" y="0"/>
                </a:moveTo>
                <a:lnTo>
                  <a:pt x="6197599" y="0"/>
                </a:lnTo>
                <a:lnTo>
                  <a:pt x="6197599" y="6855527"/>
                </a:lnTo>
                <a:lnTo>
                  <a:pt x="218267" y="6855527"/>
                </a:lnTo>
                <a:lnTo>
                  <a:pt x="1550823" y="1"/>
                </a:lnTo>
                <a:lnTo>
                  <a:pt x="0" y="1"/>
                </a:lnTo>
                <a:close/>
              </a:path>
            </a:pathLst>
          </a:cu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5837379-1532-9A48-BB85-CA46BB4E4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508D53B-DD54-EBF9-A009-9B3120BC11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8292968-3AFF-4F79-9D44-F10DA0A326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9F395B-6FEF-740A-DEB3-DB402C3C7F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9" name="Grafik 12">
            <a:extLst>
              <a:ext uri="{FF2B5EF4-FFF2-40B4-BE49-F238E27FC236}">
                <a16:creationId xmlns:a16="http://schemas.microsoft.com/office/drawing/2014/main" id="{696AB135-1D4C-FC49-2A9E-80CA2B4A2B36}"/>
              </a:ext>
            </a:extLst>
          </p:cNvPr>
          <p:cNvSpPr/>
          <p:nvPr userDrawn="1"/>
        </p:nvSpPr>
        <p:spPr>
          <a:xfrm>
            <a:off x="11424981" y="307435"/>
            <a:ext cx="521802" cy="521881"/>
          </a:xfrm>
          <a:custGeom>
            <a:avLst/>
            <a:gdLst>
              <a:gd name="connsiteX0" fmla="*/ 629888 w 1259776"/>
              <a:gd name="connsiteY0" fmla="*/ 0 h 1259966"/>
              <a:gd name="connsiteX1" fmla="*/ 0 w 1259776"/>
              <a:gd name="connsiteY1" fmla="*/ 629888 h 1259966"/>
              <a:gd name="connsiteX2" fmla="*/ 629888 w 1259776"/>
              <a:gd name="connsiteY2" fmla="*/ 1259967 h 1259966"/>
              <a:gd name="connsiteX3" fmla="*/ 1259777 w 1259776"/>
              <a:gd name="connsiteY3" fmla="*/ 629888 h 1259966"/>
              <a:gd name="connsiteX4" fmla="*/ 629888 w 1259776"/>
              <a:gd name="connsiteY4" fmla="*/ 0 h 1259966"/>
              <a:gd name="connsiteX5" fmla="*/ 202978 w 1259776"/>
              <a:gd name="connsiteY5" fmla="*/ 552545 h 1259966"/>
              <a:gd name="connsiteX6" fmla="*/ 228505 w 1259776"/>
              <a:gd name="connsiteY6" fmla="*/ 502444 h 1259966"/>
              <a:gd name="connsiteX7" fmla="*/ 286703 w 1259776"/>
              <a:gd name="connsiteY7" fmla="*/ 502444 h 1259966"/>
              <a:gd name="connsiteX8" fmla="*/ 308134 w 1259776"/>
              <a:gd name="connsiteY8" fmla="*/ 401669 h 1259966"/>
              <a:gd name="connsiteX9" fmla="*/ 367856 w 1259776"/>
              <a:gd name="connsiteY9" fmla="*/ 388239 h 1259966"/>
              <a:gd name="connsiteX10" fmla="*/ 383762 w 1259776"/>
              <a:gd name="connsiteY10" fmla="*/ 402241 h 1259966"/>
              <a:gd name="connsiteX11" fmla="*/ 383762 w 1259776"/>
              <a:gd name="connsiteY11" fmla="*/ 405384 h 1259966"/>
              <a:gd name="connsiteX12" fmla="*/ 363379 w 1259776"/>
              <a:gd name="connsiteY12" fmla="*/ 502253 h 1259966"/>
              <a:gd name="connsiteX13" fmla="*/ 469868 w 1259776"/>
              <a:gd name="connsiteY13" fmla="*/ 502253 h 1259966"/>
              <a:gd name="connsiteX14" fmla="*/ 491300 w 1259776"/>
              <a:gd name="connsiteY14" fmla="*/ 401479 h 1259966"/>
              <a:gd name="connsiteX15" fmla="*/ 551021 w 1259776"/>
              <a:gd name="connsiteY15" fmla="*/ 388049 h 1259966"/>
              <a:gd name="connsiteX16" fmla="*/ 566928 w 1259776"/>
              <a:gd name="connsiteY16" fmla="*/ 402050 h 1259966"/>
              <a:gd name="connsiteX17" fmla="*/ 566928 w 1259776"/>
              <a:gd name="connsiteY17" fmla="*/ 405194 h 1259966"/>
              <a:gd name="connsiteX18" fmla="*/ 546545 w 1259776"/>
              <a:gd name="connsiteY18" fmla="*/ 502063 h 1259966"/>
              <a:gd name="connsiteX19" fmla="*/ 611124 w 1259776"/>
              <a:gd name="connsiteY19" fmla="*/ 502063 h 1259966"/>
              <a:gd name="connsiteX20" fmla="*/ 613029 w 1259776"/>
              <a:gd name="connsiteY20" fmla="*/ 552164 h 1259966"/>
              <a:gd name="connsiteX21" fmla="*/ 591312 w 1259776"/>
              <a:gd name="connsiteY21" fmla="*/ 571500 h 1259966"/>
              <a:gd name="connsiteX22" fmla="*/ 216408 w 1259776"/>
              <a:gd name="connsiteY22" fmla="*/ 571310 h 1259966"/>
              <a:gd name="connsiteX23" fmla="*/ 213265 w 1259776"/>
              <a:gd name="connsiteY23" fmla="*/ 570643 h 1259966"/>
              <a:gd name="connsiteX24" fmla="*/ 202883 w 1259776"/>
              <a:gd name="connsiteY24" fmla="*/ 552164 h 1259966"/>
              <a:gd name="connsiteX25" fmla="*/ 177641 w 1259776"/>
              <a:gd name="connsiteY25" fmla="*/ 747713 h 1259966"/>
              <a:gd name="connsiteX26" fmla="*/ 174403 w 1259776"/>
              <a:gd name="connsiteY26" fmla="*/ 747046 h 1259966"/>
              <a:gd name="connsiteX27" fmla="*/ 164021 w 1259776"/>
              <a:gd name="connsiteY27" fmla="*/ 728567 h 1259966"/>
              <a:gd name="connsiteX28" fmla="*/ 189548 w 1259776"/>
              <a:gd name="connsiteY28" fmla="*/ 678466 h 1259966"/>
              <a:gd name="connsiteX29" fmla="*/ 249269 w 1259776"/>
              <a:gd name="connsiteY29" fmla="*/ 678466 h 1259966"/>
              <a:gd name="connsiteX30" fmla="*/ 264795 w 1259776"/>
              <a:gd name="connsiteY30" fmla="*/ 604933 h 1259966"/>
              <a:gd name="connsiteX31" fmla="*/ 348139 w 1259776"/>
              <a:gd name="connsiteY31" fmla="*/ 574358 h 1259966"/>
              <a:gd name="connsiteX32" fmla="*/ 326041 w 1259776"/>
              <a:gd name="connsiteY32" fmla="*/ 678466 h 1259966"/>
              <a:gd name="connsiteX33" fmla="*/ 432530 w 1259776"/>
              <a:gd name="connsiteY33" fmla="*/ 678466 h 1259966"/>
              <a:gd name="connsiteX34" fmla="*/ 447580 w 1259776"/>
              <a:gd name="connsiteY34" fmla="*/ 607695 h 1259966"/>
              <a:gd name="connsiteX35" fmla="*/ 531114 w 1259776"/>
              <a:gd name="connsiteY35" fmla="*/ 574929 h 1259966"/>
              <a:gd name="connsiteX36" fmla="*/ 509207 w 1259776"/>
              <a:gd name="connsiteY36" fmla="*/ 678371 h 1259966"/>
              <a:gd name="connsiteX37" fmla="*/ 572357 w 1259776"/>
              <a:gd name="connsiteY37" fmla="*/ 678371 h 1259966"/>
              <a:gd name="connsiteX38" fmla="*/ 574262 w 1259776"/>
              <a:gd name="connsiteY38" fmla="*/ 728472 h 1259966"/>
              <a:gd name="connsiteX39" fmla="*/ 552545 w 1259776"/>
              <a:gd name="connsiteY39" fmla="*/ 747998 h 1259966"/>
              <a:gd name="connsiteX40" fmla="*/ 177737 w 1259776"/>
              <a:gd name="connsiteY40" fmla="*/ 747617 h 1259966"/>
              <a:gd name="connsiteX41" fmla="*/ 290894 w 1259776"/>
              <a:gd name="connsiteY41" fmla="*/ 843534 h 1259966"/>
              <a:gd name="connsiteX42" fmla="*/ 267272 w 1259776"/>
              <a:gd name="connsiteY42" fmla="*/ 860774 h 1259966"/>
              <a:gd name="connsiteX43" fmla="*/ 213265 w 1259776"/>
              <a:gd name="connsiteY43" fmla="*/ 847439 h 1259966"/>
              <a:gd name="connsiteX44" fmla="*/ 227552 w 1259776"/>
              <a:gd name="connsiteY44" fmla="*/ 780479 h 1259966"/>
              <a:gd name="connsiteX45" fmla="*/ 310610 w 1259776"/>
              <a:gd name="connsiteY45" fmla="*/ 750570 h 1259966"/>
              <a:gd name="connsiteX46" fmla="*/ 290894 w 1259776"/>
              <a:gd name="connsiteY46" fmla="*/ 843629 h 1259966"/>
              <a:gd name="connsiteX47" fmla="*/ 396526 w 1259776"/>
              <a:gd name="connsiteY47" fmla="*/ 847344 h 1259966"/>
              <a:gd name="connsiteX48" fmla="*/ 410147 w 1259776"/>
              <a:gd name="connsiteY48" fmla="*/ 783146 h 1259966"/>
              <a:gd name="connsiteX49" fmla="*/ 493681 w 1259776"/>
              <a:gd name="connsiteY49" fmla="*/ 751237 h 1259966"/>
              <a:gd name="connsiteX50" fmla="*/ 474155 w 1259776"/>
              <a:gd name="connsiteY50" fmla="*/ 843439 h 1259966"/>
              <a:gd name="connsiteX51" fmla="*/ 450533 w 1259776"/>
              <a:gd name="connsiteY51" fmla="*/ 860393 h 1259966"/>
              <a:gd name="connsiteX52" fmla="*/ 396526 w 1259776"/>
              <a:gd name="connsiteY52" fmla="*/ 847249 h 1259966"/>
              <a:gd name="connsiteX53" fmla="*/ 1028795 w 1259776"/>
              <a:gd name="connsiteY53" fmla="*/ 452438 h 1259966"/>
              <a:gd name="connsiteX54" fmla="*/ 1022413 w 1259776"/>
              <a:gd name="connsiteY54" fmla="*/ 483680 h 1259966"/>
              <a:gd name="connsiteX55" fmla="*/ 876872 w 1259776"/>
              <a:gd name="connsiteY55" fmla="*/ 629031 h 1259966"/>
              <a:gd name="connsiteX56" fmla="*/ 974217 w 1259776"/>
              <a:gd name="connsiteY56" fmla="*/ 748856 h 1259966"/>
              <a:gd name="connsiteX57" fmla="*/ 968883 w 1259776"/>
              <a:gd name="connsiteY57" fmla="*/ 799243 h 1259966"/>
              <a:gd name="connsiteX58" fmla="*/ 960406 w 1259776"/>
              <a:gd name="connsiteY58" fmla="*/ 838772 h 1259966"/>
              <a:gd name="connsiteX59" fmla="*/ 654368 w 1259776"/>
              <a:gd name="connsiteY59" fmla="*/ 1052989 h 1259966"/>
              <a:gd name="connsiteX60" fmla="*/ 455295 w 1259776"/>
              <a:gd name="connsiteY60" fmla="*/ 1017746 h 1259966"/>
              <a:gd name="connsiteX61" fmla="*/ 499110 w 1259776"/>
              <a:gd name="connsiteY61" fmla="*/ 955453 h 1259966"/>
              <a:gd name="connsiteX62" fmla="*/ 644652 w 1259776"/>
              <a:gd name="connsiteY62" fmla="*/ 969455 h 1259966"/>
              <a:gd name="connsiteX63" fmla="*/ 865251 w 1259776"/>
              <a:gd name="connsiteY63" fmla="*/ 842201 h 1259966"/>
              <a:gd name="connsiteX64" fmla="*/ 872681 w 1259776"/>
              <a:gd name="connsiteY64" fmla="*/ 803529 h 1259966"/>
              <a:gd name="connsiteX65" fmla="*/ 876967 w 1259776"/>
              <a:gd name="connsiteY65" fmla="*/ 767144 h 1259966"/>
              <a:gd name="connsiteX66" fmla="*/ 721805 w 1259776"/>
              <a:gd name="connsiteY66" fmla="*/ 676180 h 1259966"/>
              <a:gd name="connsiteX67" fmla="*/ 687610 w 1259776"/>
              <a:gd name="connsiteY67" fmla="*/ 676180 h 1259966"/>
              <a:gd name="connsiteX68" fmla="*/ 675704 w 1259776"/>
              <a:gd name="connsiteY68" fmla="*/ 638747 h 1259966"/>
              <a:gd name="connsiteX69" fmla="*/ 705707 w 1259776"/>
              <a:gd name="connsiteY69" fmla="*/ 591598 h 1259966"/>
              <a:gd name="connsiteX70" fmla="*/ 725043 w 1259776"/>
              <a:gd name="connsiteY70" fmla="*/ 591598 h 1259966"/>
              <a:gd name="connsiteX71" fmla="*/ 928402 w 1259776"/>
              <a:gd name="connsiteY71" fmla="*/ 479203 h 1259966"/>
              <a:gd name="connsiteX72" fmla="*/ 932688 w 1259776"/>
              <a:gd name="connsiteY72" fmla="*/ 456914 h 1259966"/>
              <a:gd name="connsiteX73" fmla="*/ 936974 w 1259776"/>
              <a:gd name="connsiteY73" fmla="*/ 420338 h 1259966"/>
              <a:gd name="connsiteX74" fmla="*/ 786098 w 1259776"/>
              <a:gd name="connsiteY74" fmla="*/ 339185 h 1259966"/>
              <a:gd name="connsiteX75" fmla="*/ 644747 w 1259776"/>
              <a:gd name="connsiteY75" fmla="*/ 350901 h 1259966"/>
              <a:gd name="connsiteX76" fmla="*/ 628840 w 1259776"/>
              <a:gd name="connsiteY76" fmla="*/ 307086 h 1259966"/>
              <a:gd name="connsiteX77" fmla="*/ 629888 w 1259776"/>
              <a:gd name="connsiteY77" fmla="*/ 290894 h 1259966"/>
              <a:gd name="connsiteX78" fmla="*/ 826675 w 1259776"/>
              <a:gd name="connsiteY78" fmla="*/ 257747 h 1259966"/>
              <a:gd name="connsiteX79" fmla="*/ 1035558 w 1259776"/>
              <a:gd name="connsiteY79" fmla="*/ 393764 h 1259966"/>
              <a:gd name="connsiteX80" fmla="*/ 1028986 w 1259776"/>
              <a:gd name="connsiteY80" fmla="*/ 452438 h 1259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1259776" h="1259966">
                <a:moveTo>
                  <a:pt x="629888" y="0"/>
                </a:moveTo>
                <a:cubicBezTo>
                  <a:pt x="282035" y="0"/>
                  <a:pt x="0" y="282035"/>
                  <a:pt x="0" y="629888"/>
                </a:cubicBezTo>
                <a:cubicBezTo>
                  <a:pt x="0" y="977741"/>
                  <a:pt x="282035" y="1259967"/>
                  <a:pt x="629888" y="1259967"/>
                </a:cubicBezTo>
                <a:cubicBezTo>
                  <a:pt x="977741" y="1259967"/>
                  <a:pt x="1259777" y="977741"/>
                  <a:pt x="1259777" y="629888"/>
                </a:cubicBezTo>
                <a:cubicBezTo>
                  <a:pt x="1259777" y="282035"/>
                  <a:pt x="977741" y="0"/>
                  <a:pt x="629888" y="0"/>
                </a:cubicBezTo>
                <a:moveTo>
                  <a:pt x="202978" y="552545"/>
                </a:moveTo>
                <a:cubicBezTo>
                  <a:pt x="206121" y="537686"/>
                  <a:pt x="217456" y="502634"/>
                  <a:pt x="228505" y="502444"/>
                </a:cubicBezTo>
                <a:lnTo>
                  <a:pt x="286703" y="502444"/>
                </a:lnTo>
                <a:lnTo>
                  <a:pt x="308134" y="401669"/>
                </a:lnTo>
                <a:cubicBezTo>
                  <a:pt x="310706" y="390811"/>
                  <a:pt x="352520" y="388239"/>
                  <a:pt x="367856" y="388239"/>
                </a:cubicBezTo>
                <a:cubicBezTo>
                  <a:pt x="377381" y="388239"/>
                  <a:pt x="383762" y="394621"/>
                  <a:pt x="383762" y="402241"/>
                </a:cubicBezTo>
                <a:lnTo>
                  <a:pt x="383762" y="405384"/>
                </a:lnTo>
                <a:lnTo>
                  <a:pt x="363379" y="502253"/>
                </a:lnTo>
                <a:lnTo>
                  <a:pt x="469868" y="502253"/>
                </a:lnTo>
                <a:lnTo>
                  <a:pt x="491300" y="401479"/>
                </a:lnTo>
                <a:cubicBezTo>
                  <a:pt x="493871" y="390620"/>
                  <a:pt x="535972" y="388049"/>
                  <a:pt x="551021" y="388049"/>
                </a:cubicBezTo>
                <a:cubicBezTo>
                  <a:pt x="560546" y="388049"/>
                  <a:pt x="566928" y="394430"/>
                  <a:pt x="566928" y="402050"/>
                </a:cubicBezTo>
                <a:lnTo>
                  <a:pt x="566928" y="405194"/>
                </a:lnTo>
                <a:lnTo>
                  <a:pt x="546545" y="502063"/>
                </a:lnTo>
                <a:lnTo>
                  <a:pt x="611124" y="502063"/>
                </a:lnTo>
                <a:cubicBezTo>
                  <a:pt x="621792" y="504158"/>
                  <a:pt x="616649" y="535400"/>
                  <a:pt x="613029" y="552164"/>
                </a:cubicBezTo>
                <a:cubicBezTo>
                  <a:pt x="610648" y="562547"/>
                  <a:pt x="601790" y="571310"/>
                  <a:pt x="591312" y="571500"/>
                </a:cubicBezTo>
                <a:lnTo>
                  <a:pt x="216408" y="571310"/>
                </a:lnTo>
                <a:cubicBezTo>
                  <a:pt x="215170" y="571119"/>
                  <a:pt x="214503" y="570929"/>
                  <a:pt x="213265" y="570643"/>
                </a:cubicBezTo>
                <a:cubicBezTo>
                  <a:pt x="205835" y="568928"/>
                  <a:pt x="200978" y="561499"/>
                  <a:pt x="202883" y="552164"/>
                </a:cubicBezTo>
                <a:moveTo>
                  <a:pt x="177641" y="747713"/>
                </a:moveTo>
                <a:cubicBezTo>
                  <a:pt x="176403" y="747522"/>
                  <a:pt x="175736" y="747236"/>
                  <a:pt x="174403" y="747046"/>
                </a:cubicBezTo>
                <a:cubicBezTo>
                  <a:pt x="166973" y="745522"/>
                  <a:pt x="162116" y="737902"/>
                  <a:pt x="164021" y="728567"/>
                </a:cubicBezTo>
                <a:cubicBezTo>
                  <a:pt x="167164" y="713708"/>
                  <a:pt x="178499" y="678656"/>
                  <a:pt x="189548" y="678466"/>
                </a:cubicBezTo>
                <a:lnTo>
                  <a:pt x="249269" y="678466"/>
                </a:lnTo>
                <a:lnTo>
                  <a:pt x="264795" y="604933"/>
                </a:lnTo>
                <a:cubicBezTo>
                  <a:pt x="289846" y="589598"/>
                  <a:pt x="317945" y="579025"/>
                  <a:pt x="348139" y="574358"/>
                </a:cubicBezTo>
                <a:lnTo>
                  <a:pt x="326041" y="678466"/>
                </a:lnTo>
                <a:lnTo>
                  <a:pt x="432530" y="678466"/>
                </a:lnTo>
                <a:lnTo>
                  <a:pt x="447580" y="607695"/>
                </a:lnTo>
                <a:cubicBezTo>
                  <a:pt x="472440" y="591503"/>
                  <a:pt x="500729" y="580263"/>
                  <a:pt x="531114" y="574929"/>
                </a:cubicBezTo>
                <a:lnTo>
                  <a:pt x="509207" y="678371"/>
                </a:lnTo>
                <a:lnTo>
                  <a:pt x="572357" y="678371"/>
                </a:lnTo>
                <a:cubicBezTo>
                  <a:pt x="583025" y="680752"/>
                  <a:pt x="577882" y="711708"/>
                  <a:pt x="574262" y="728472"/>
                </a:cubicBezTo>
                <a:cubicBezTo>
                  <a:pt x="571881" y="739140"/>
                  <a:pt x="563023" y="747617"/>
                  <a:pt x="552545" y="747998"/>
                </a:cubicBezTo>
                <a:lnTo>
                  <a:pt x="177737" y="747617"/>
                </a:lnTo>
                <a:close/>
                <a:moveTo>
                  <a:pt x="290894" y="843534"/>
                </a:moveTo>
                <a:cubicBezTo>
                  <a:pt x="288322" y="853726"/>
                  <a:pt x="278130" y="860774"/>
                  <a:pt x="267272" y="860774"/>
                </a:cubicBezTo>
                <a:cubicBezTo>
                  <a:pt x="250031" y="860774"/>
                  <a:pt x="213265" y="858203"/>
                  <a:pt x="213265" y="847439"/>
                </a:cubicBezTo>
                <a:lnTo>
                  <a:pt x="227552" y="780479"/>
                </a:lnTo>
                <a:cubicBezTo>
                  <a:pt x="252413" y="765429"/>
                  <a:pt x="280702" y="754952"/>
                  <a:pt x="310610" y="750570"/>
                </a:cubicBezTo>
                <a:lnTo>
                  <a:pt x="290894" y="843629"/>
                </a:lnTo>
                <a:close/>
                <a:moveTo>
                  <a:pt x="396526" y="847344"/>
                </a:moveTo>
                <a:lnTo>
                  <a:pt x="410147" y="783146"/>
                </a:lnTo>
                <a:cubicBezTo>
                  <a:pt x="435197" y="767239"/>
                  <a:pt x="463487" y="756380"/>
                  <a:pt x="493681" y="751237"/>
                </a:cubicBezTo>
                <a:lnTo>
                  <a:pt x="474155" y="843439"/>
                </a:lnTo>
                <a:cubicBezTo>
                  <a:pt x="471583" y="853631"/>
                  <a:pt x="461391" y="860393"/>
                  <a:pt x="450533" y="860393"/>
                </a:cubicBezTo>
                <a:cubicBezTo>
                  <a:pt x="433578" y="860393"/>
                  <a:pt x="396526" y="858107"/>
                  <a:pt x="396526" y="847249"/>
                </a:cubicBezTo>
                <a:moveTo>
                  <a:pt x="1028795" y="452438"/>
                </a:moveTo>
                <a:lnTo>
                  <a:pt x="1022413" y="483680"/>
                </a:lnTo>
                <a:cubicBezTo>
                  <a:pt x="1003078" y="574643"/>
                  <a:pt x="931450" y="614172"/>
                  <a:pt x="876872" y="629031"/>
                </a:cubicBezTo>
                <a:cubicBezTo>
                  <a:pt x="926211" y="636651"/>
                  <a:pt x="974217" y="670941"/>
                  <a:pt x="974217" y="748856"/>
                </a:cubicBezTo>
                <a:cubicBezTo>
                  <a:pt x="974217" y="763905"/>
                  <a:pt x="973169" y="781145"/>
                  <a:pt x="968883" y="799243"/>
                </a:cubicBezTo>
                <a:lnTo>
                  <a:pt x="960406" y="838772"/>
                </a:lnTo>
                <a:cubicBezTo>
                  <a:pt x="925163" y="1003649"/>
                  <a:pt x="785908" y="1052989"/>
                  <a:pt x="654368" y="1052989"/>
                </a:cubicBezTo>
                <a:cubicBezTo>
                  <a:pt x="579311" y="1052989"/>
                  <a:pt x="455295" y="1040035"/>
                  <a:pt x="455295" y="1017746"/>
                </a:cubicBezTo>
                <a:cubicBezTo>
                  <a:pt x="455295" y="1007936"/>
                  <a:pt x="482060" y="955453"/>
                  <a:pt x="499110" y="955453"/>
                </a:cubicBezTo>
                <a:cubicBezTo>
                  <a:pt x="544163" y="960977"/>
                  <a:pt x="590264" y="969455"/>
                  <a:pt x="644652" y="969455"/>
                </a:cubicBezTo>
                <a:cubicBezTo>
                  <a:pt x="733520" y="969455"/>
                  <a:pt x="843725" y="952214"/>
                  <a:pt x="865251" y="842201"/>
                </a:cubicBezTo>
                <a:lnTo>
                  <a:pt x="872681" y="803529"/>
                </a:lnTo>
                <a:cubicBezTo>
                  <a:pt x="874776" y="789718"/>
                  <a:pt x="876967" y="777812"/>
                  <a:pt x="876967" y="767144"/>
                </a:cubicBezTo>
                <a:cubicBezTo>
                  <a:pt x="876967" y="689991"/>
                  <a:pt x="807434" y="676180"/>
                  <a:pt x="721805" y="676180"/>
                </a:cubicBezTo>
                <a:lnTo>
                  <a:pt x="687610" y="676180"/>
                </a:lnTo>
                <a:cubicBezTo>
                  <a:pt x="678847" y="676180"/>
                  <a:pt x="675704" y="657892"/>
                  <a:pt x="675704" y="638747"/>
                </a:cubicBezTo>
                <a:cubicBezTo>
                  <a:pt x="675704" y="611981"/>
                  <a:pt x="683324" y="591598"/>
                  <a:pt x="705707" y="591598"/>
                </a:cubicBezTo>
                <a:lnTo>
                  <a:pt x="725043" y="591598"/>
                </a:lnTo>
                <a:cubicBezTo>
                  <a:pt x="824484" y="591598"/>
                  <a:pt x="912209" y="564833"/>
                  <a:pt x="928402" y="479203"/>
                </a:cubicBezTo>
                <a:lnTo>
                  <a:pt x="932688" y="456914"/>
                </a:lnTo>
                <a:cubicBezTo>
                  <a:pt x="935831" y="443960"/>
                  <a:pt x="936974" y="431197"/>
                  <a:pt x="936974" y="420338"/>
                </a:cubicBezTo>
                <a:cubicBezTo>
                  <a:pt x="936974" y="358331"/>
                  <a:pt x="888968" y="339185"/>
                  <a:pt x="786098" y="339185"/>
                </a:cubicBezTo>
                <a:cubicBezTo>
                  <a:pt x="751904" y="339185"/>
                  <a:pt x="718757" y="342424"/>
                  <a:pt x="644747" y="350901"/>
                </a:cubicBezTo>
                <a:cubicBezTo>
                  <a:pt x="634175" y="350901"/>
                  <a:pt x="628840" y="327279"/>
                  <a:pt x="628840" y="307086"/>
                </a:cubicBezTo>
                <a:cubicBezTo>
                  <a:pt x="628840" y="300514"/>
                  <a:pt x="628840" y="296228"/>
                  <a:pt x="629888" y="290894"/>
                </a:cubicBezTo>
                <a:cubicBezTo>
                  <a:pt x="635222" y="265176"/>
                  <a:pt x="750761" y="257747"/>
                  <a:pt x="826675" y="257747"/>
                </a:cubicBezTo>
                <a:cubicBezTo>
                  <a:pt x="957358" y="257747"/>
                  <a:pt x="1035558" y="289846"/>
                  <a:pt x="1035558" y="393764"/>
                </a:cubicBezTo>
                <a:cubicBezTo>
                  <a:pt x="1035558" y="410813"/>
                  <a:pt x="1033272" y="430149"/>
                  <a:pt x="1028986" y="452438"/>
                </a:cubicBezTo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85404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_farbig">
    <p:bg>
      <p:bgPr>
        <a:solidFill>
          <a:srgbClr val="6DC4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837379-1532-9A48-BB85-CA46BB4E4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E242B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508D53B-DD54-EBF9-A009-9B3120BC11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8292968-3AFF-4F79-9D44-F10DA0A326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9F395B-6FEF-740A-DEB3-DB402C3C7F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BDF863E-6FA8-F8DA-DAC4-B894B9430064}"/>
              </a:ext>
            </a:extLst>
          </p:cNvPr>
          <p:cNvSpPr/>
          <p:nvPr userDrawn="1"/>
        </p:nvSpPr>
        <p:spPr bwMode="gray">
          <a:xfrm>
            <a:off x="338667" y="245533"/>
            <a:ext cx="11734800" cy="796599"/>
          </a:xfrm>
          <a:prstGeom prst="rect">
            <a:avLst/>
          </a:pr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err="1"/>
          </a:p>
        </p:txBody>
      </p:sp>
      <p:pic>
        <p:nvPicPr>
          <p:cNvPr id="8" name="Grafik 7" descr="Ein Bild, das Schrift, Grafiken, Typografie, Logo enthält.&#10;&#10;Automatisch generierte Beschreibung">
            <a:extLst>
              <a:ext uri="{FF2B5EF4-FFF2-40B4-BE49-F238E27FC236}">
                <a16:creationId xmlns:a16="http://schemas.microsoft.com/office/drawing/2014/main" id="{9748D9F0-D3AF-3106-7AB7-97D48D6B8E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2028" y="408034"/>
            <a:ext cx="2008788" cy="402716"/>
          </a:xfrm>
          <a:prstGeom prst="rect">
            <a:avLst/>
          </a:prstGeom>
        </p:spPr>
      </p:pic>
      <p:sp>
        <p:nvSpPr>
          <p:cNvPr id="12" name="Grafik 12">
            <a:extLst>
              <a:ext uri="{FF2B5EF4-FFF2-40B4-BE49-F238E27FC236}">
                <a16:creationId xmlns:a16="http://schemas.microsoft.com/office/drawing/2014/main" id="{04636567-8046-CFBD-7F3B-3222E76EE492}"/>
              </a:ext>
            </a:extLst>
          </p:cNvPr>
          <p:cNvSpPr/>
          <p:nvPr userDrawn="1"/>
        </p:nvSpPr>
        <p:spPr>
          <a:xfrm>
            <a:off x="11424981" y="307435"/>
            <a:ext cx="521802" cy="521881"/>
          </a:xfrm>
          <a:custGeom>
            <a:avLst/>
            <a:gdLst>
              <a:gd name="connsiteX0" fmla="*/ 629888 w 1259776"/>
              <a:gd name="connsiteY0" fmla="*/ 0 h 1259966"/>
              <a:gd name="connsiteX1" fmla="*/ 0 w 1259776"/>
              <a:gd name="connsiteY1" fmla="*/ 629888 h 1259966"/>
              <a:gd name="connsiteX2" fmla="*/ 629888 w 1259776"/>
              <a:gd name="connsiteY2" fmla="*/ 1259967 h 1259966"/>
              <a:gd name="connsiteX3" fmla="*/ 1259777 w 1259776"/>
              <a:gd name="connsiteY3" fmla="*/ 629888 h 1259966"/>
              <a:gd name="connsiteX4" fmla="*/ 629888 w 1259776"/>
              <a:gd name="connsiteY4" fmla="*/ 0 h 1259966"/>
              <a:gd name="connsiteX5" fmla="*/ 202978 w 1259776"/>
              <a:gd name="connsiteY5" fmla="*/ 552545 h 1259966"/>
              <a:gd name="connsiteX6" fmla="*/ 228505 w 1259776"/>
              <a:gd name="connsiteY6" fmla="*/ 502444 h 1259966"/>
              <a:gd name="connsiteX7" fmla="*/ 286703 w 1259776"/>
              <a:gd name="connsiteY7" fmla="*/ 502444 h 1259966"/>
              <a:gd name="connsiteX8" fmla="*/ 308134 w 1259776"/>
              <a:gd name="connsiteY8" fmla="*/ 401669 h 1259966"/>
              <a:gd name="connsiteX9" fmla="*/ 367856 w 1259776"/>
              <a:gd name="connsiteY9" fmla="*/ 388239 h 1259966"/>
              <a:gd name="connsiteX10" fmla="*/ 383762 w 1259776"/>
              <a:gd name="connsiteY10" fmla="*/ 402241 h 1259966"/>
              <a:gd name="connsiteX11" fmla="*/ 383762 w 1259776"/>
              <a:gd name="connsiteY11" fmla="*/ 405384 h 1259966"/>
              <a:gd name="connsiteX12" fmla="*/ 363379 w 1259776"/>
              <a:gd name="connsiteY12" fmla="*/ 502253 h 1259966"/>
              <a:gd name="connsiteX13" fmla="*/ 469868 w 1259776"/>
              <a:gd name="connsiteY13" fmla="*/ 502253 h 1259966"/>
              <a:gd name="connsiteX14" fmla="*/ 491300 w 1259776"/>
              <a:gd name="connsiteY14" fmla="*/ 401479 h 1259966"/>
              <a:gd name="connsiteX15" fmla="*/ 551021 w 1259776"/>
              <a:gd name="connsiteY15" fmla="*/ 388049 h 1259966"/>
              <a:gd name="connsiteX16" fmla="*/ 566928 w 1259776"/>
              <a:gd name="connsiteY16" fmla="*/ 402050 h 1259966"/>
              <a:gd name="connsiteX17" fmla="*/ 566928 w 1259776"/>
              <a:gd name="connsiteY17" fmla="*/ 405194 h 1259966"/>
              <a:gd name="connsiteX18" fmla="*/ 546545 w 1259776"/>
              <a:gd name="connsiteY18" fmla="*/ 502063 h 1259966"/>
              <a:gd name="connsiteX19" fmla="*/ 611124 w 1259776"/>
              <a:gd name="connsiteY19" fmla="*/ 502063 h 1259966"/>
              <a:gd name="connsiteX20" fmla="*/ 613029 w 1259776"/>
              <a:gd name="connsiteY20" fmla="*/ 552164 h 1259966"/>
              <a:gd name="connsiteX21" fmla="*/ 591312 w 1259776"/>
              <a:gd name="connsiteY21" fmla="*/ 571500 h 1259966"/>
              <a:gd name="connsiteX22" fmla="*/ 216408 w 1259776"/>
              <a:gd name="connsiteY22" fmla="*/ 571310 h 1259966"/>
              <a:gd name="connsiteX23" fmla="*/ 213265 w 1259776"/>
              <a:gd name="connsiteY23" fmla="*/ 570643 h 1259966"/>
              <a:gd name="connsiteX24" fmla="*/ 202883 w 1259776"/>
              <a:gd name="connsiteY24" fmla="*/ 552164 h 1259966"/>
              <a:gd name="connsiteX25" fmla="*/ 177641 w 1259776"/>
              <a:gd name="connsiteY25" fmla="*/ 747713 h 1259966"/>
              <a:gd name="connsiteX26" fmla="*/ 174403 w 1259776"/>
              <a:gd name="connsiteY26" fmla="*/ 747046 h 1259966"/>
              <a:gd name="connsiteX27" fmla="*/ 164021 w 1259776"/>
              <a:gd name="connsiteY27" fmla="*/ 728567 h 1259966"/>
              <a:gd name="connsiteX28" fmla="*/ 189548 w 1259776"/>
              <a:gd name="connsiteY28" fmla="*/ 678466 h 1259966"/>
              <a:gd name="connsiteX29" fmla="*/ 249269 w 1259776"/>
              <a:gd name="connsiteY29" fmla="*/ 678466 h 1259966"/>
              <a:gd name="connsiteX30" fmla="*/ 264795 w 1259776"/>
              <a:gd name="connsiteY30" fmla="*/ 604933 h 1259966"/>
              <a:gd name="connsiteX31" fmla="*/ 348139 w 1259776"/>
              <a:gd name="connsiteY31" fmla="*/ 574358 h 1259966"/>
              <a:gd name="connsiteX32" fmla="*/ 326041 w 1259776"/>
              <a:gd name="connsiteY32" fmla="*/ 678466 h 1259966"/>
              <a:gd name="connsiteX33" fmla="*/ 432530 w 1259776"/>
              <a:gd name="connsiteY33" fmla="*/ 678466 h 1259966"/>
              <a:gd name="connsiteX34" fmla="*/ 447580 w 1259776"/>
              <a:gd name="connsiteY34" fmla="*/ 607695 h 1259966"/>
              <a:gd name="connsiteX35" fmla="*/ 531114 w 1259776"/>
              <a:gd name="connsiteY35" fmla="*/ 574929 h 1259966"/>
              <a:gd name="connsiteX36" fmla="*/ 509207 w 1259776"/>
              <a:gd name="connsiteY36" fmla="*/ 678371 h 1259966"/>
              <a:gd name="connsiteX37" fmla="*/ 572357 w 1259776"/>
              <a:gd name="connsiteY37" fmla="*/ 678371 h 1259966"/>
              <a:gd name="connsiteX38" fmla="*/ 574262 w 1259776"/>
              <a:gd name="connsiteY38" fmla="*/ 728472 h 1259966"/>
              <a:gd name="connsiteX39" fmla="*/ 552545 w 1259776"/>
              <a:gd name="connsiteY39" fmla="*/ 747998 h 1259966"/>
              <a:gd name="connsiteX40" fmla="*/ 177737 w 1259776"/>
              <a:gd name="connsiteY40" fmla="*/ 747617 h 1259966"/>
              <a:gd name="connsiteX41" fmla="*/ 290894 w 1259776"/>
              <a:gd name="connsiteY41" fmla="*/ 843534 h 1259966"/>
              <a:gd name="connsiteX42" fmla="*/ 267272 w 1259776"/>
              <a:gd name="connsiteY42" fmla="*/ 860774 h 1259966"/>
              <a:gd name="connsiteX43" fmla="*/ 213265 w 1259776"/>
              <a:gd name="connsiteY43" fmla="*/ 847439 h 1259966"/>
              <a:gd name="connsiteX44" fmla="*/ 227552 w 1259776"/>
              <a:gd name="connsiteY44" fmla="*/ 780479 h 1259966"/>
              <a:gd name="connsiteX45" fmla="*/ 310610 w 1259776"/>
              <a:gd name="connsiteY45" fmla="*/ 750570 h 1259966"/>
              <a:gd name="connsiteX46" fmla="*/ 290894 w 1259776"/>
              <a:gd name="connsiteY46" fmla="*/ 843629 h 1259966"/>
              <a:gd name="connsiteX47" fmla="*/ 396526 w 1259776"/>
              <a:gd name="connsiteY47" fmla="*/ 847344 h 1259966"/>
              <a:gd name="connsiteX48" fmla="*/ 410147 w 1259776"/>
              <a:gd name="connsiteY48" fmla="*/ 783146 h 1259966"/>
              <a:gd name="connsiteX49" fmla="*/ 493681 w 1259776"/>
              <a:gd name="connsiteY49" fmla="*/ 751237 h 1259966"/>
              <a:gd name="connsiteX50" fmla="*/ 474155 w 1259776"/>
              <a:gd name="connsiteY50" fmla="*/ 843439 h 1259966"/>
              <a:gd name="connsiteX51" fmla="*/ 450533 w 1259776"/>
              <a:gd name="connsiteY51" fmla="*/ 860393 h 1259966"/>
              <a:gd name="connsiteX52" fmla="*/ 396526 w 1259776"/>
              <a:gd name="connsiteY52" fmla="*/ 847249 h 1259966"/>
              <a:gd name="connsiteX53" fmla="*/ 1028795 w 1259776"/>
              <a:gd name="connsiteY53" fmla="*/ 452438 h 1259966"/>
              <a:gd name="connsiteX54" fmla="*/ 1022413 w 1259776"/>
              <a:gd name="connsiteY54" fmla="*/ 483680 h 1259966"/>
              <a:gd name="connsiteX55" fmla="*/ 876872 w 1259776"/>
              <a:gd name="connsiteY55" fmla="*/ 629031 h 1259966"/>
              <a:gd name="connsiteX56" fmla="*/ 974217 w 1259776"/>
              <a:gd name="connsiteY56" fmla="*/ 748856 h 1259966"/>
              <a:gd name="connsiteX57" fmla="*/ 968883 w 1259776"/>
              <a:gd name="connsiteY57" fmla="*/ 799243 h 1259966"/>
              <a:gd name="connsiteX58" fmla="*/ 960406 w 1259776"/>
              <a:gd name="connsiteY58" fmla="*/ 838772 h 1259966"/>
              <a:gd name="connsiteX59" fmla="*/ 654368 w 1259776"/>
              <a:gd name="connsiteY59" fmla="*/ 1052989 h 1259966"/>
              <a:gd name="connsiteX60" fmla="*/ 455295 w 1259776"/>
              <a:gd name="connsiteY60" fmla="*/ 1017746 h 1259966"/>
              <a:gd name="connsiteX61" fmla="*/ 499110 w 1259776"/>
              <a:gd name="connsiteY61" fmla="*/ 955453 h 1259966"/>
              <a:gd name="connsiteX62" fmla="*/ 644652 w 1259776"/>
              <a:gd name="connsiteY62" fmla="*/ 969455 h 1259966"/>
              <a:gd name="connsiteX63" fmla="*/ 865251 w 1259776"/>
              <a:gd name="connsiteY63" fmla="*/ 842201 h 1259966"/>
              <a:gd name="connsiteX64" fmla="*/ 872681 w 1259776"/>
              <a:gd name="connsiteY64" fmla="*/ 803529 h 1259966"/>
              <a:gd name="connsiteX65" fmla="*/ 876967 w 1259776"/>
              <a:gd name="connsiteY65" fmla="*/ 767144 h 1259966"/>
              <a:gd name="connsiteX66" fmla="*/ 721805 w 1259776"/>
              <a:gd name="connsiteY66" fmla="*/ 676180 h 1259966"/>
              <a:gd name="connsiteX67" fmla="*/ 687610 w 1259776"/>
              <a:gd name="connsiteY67" fmla="*/ 676180 h 1259966"/>
              <a:gd name="connsiteX68" fmla="*/ 675704 w 1259776"/>
              <a:gd name="connsiteY68" fmla="*/ 638747 h 1259966"/>
              <a:gd name="connsiteX69" fmla="*/ 705707 w 1259776"/>
              <a:gd name="connsiteY69" fmla="*/ 591598 h 1259966"/>
              <a:gd name="connsiteX70" fmla="*/ 725043 w 1259776"/>
              <a:gd name="connsiteY70" fmla="*/ 591598 h 1259966"/>
              <a:gd name="connsiteX71" fmla="*/ 928402 w 1259776"/>
              <a:gd name="connsiteY71" fmla="*/ 479203 h 1259966"/>
              <a:gd name="connsiteX72" fmla="*/ 932688 w 1259776"/>
              <a:gd name="connsiteY72" fmla="*/ 456914 h 1259966"/>
              <a:gd name="connsiteX73" fmla="*/ 936974 w 1259776"/>
              <a:gd name="connsiteY73" fmla="*/ 420338 h 1259966"/>
              <a:gd name="connsiteX74" fmla="*/ 786098 w 1259776"/>
              <a:gd name="connsiteY74" fmla="*/ 339185 h 1259966"/>
              <a:gd name="connsiteX75" fmla="*/ 644747 w 1259776"/>
              <a:gd name="connsiteY75" fmla="*/ 350901 h 1259966"/>
              <a:gd name="connsiteX76" fmla="*/ 628840 w 1259776"/>
              <a:gd name="connsiteY76" fmla="*/ 307086 h 1259966"/>
              <a:gd name="connsiteX77" fmla="*/ 629888 w 1259776"/>
              <a:gd name="connsiteY77" fmla="*/ 290894 h 1259966"/>
              <a:gd name="connsiteX78" fmla="*/ 826675 w 1259776"/>
              <a:gd name="connsiteY78" fmla="*/ 257747 h 1259966"/>
              <a:gd name="connsiteX79" fmla="*/ 1035558 w 1259776"/>
              <a:gd name="connsiteY79" fmla="*/ 393764 h 1259966"/>
              <a:gd name="connsiteX80" fmla="*/ 1028986 w 1259776"/>
              <a:gd name="connsiteY80" fmla="*/ 452438 h 1259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1259776" h="1259966">
                <a:moveTo>
                  <a:pt x="629888" y="0"/>
                </a:moveTo>
                <a:cubicBezTo>
                  <a:pt x="282035" y="0"/>
                  <a:pt x="0" y="282035"/>
                  <a:pt x="0" y="629888"/>
                </a:cubicBezTo>
                <a:cubicBezTo>
                  <a:pt x="0" y="977741"/>
                  <a:pt x="282035" y="1259967"/>
                  <a:pt x="629888" y="1259967"/>
                </a:cubicBezTo>
                <a:cubicBezTo>
                  <a:pt x="977741" y="1259967"/>
                  <a:pt x="1259777" y="977741"/>
                  <a:pt x="1259777" y="629888"/>
                </a:cubicBezTo>
                <a:cubicBezTo>
                  <a:pt x="1259777" y="282035"/>
                  <a:pt x="977741" y="0"/>
                  <a:pt x="629888" y="0"/>
                </a:cubicBezTo>
                <a:moveTo>
                  <a:pt x="202978" y="552545"/>
                </a:moveTo>
                <a:cubicBezTo>
                  <a:pt x="206121" y="537686"/>
                  <a:pt x="217456" y="502634"/>
                  <a:pt x="228505" y="502444"/>
                </a:cubicBezTo>
                <a:lnTo>
                  <a:pt x="286703" y="502444"/>
                </a:lnTo>
                <a:lnTo>
                  <a:pt x="308134" y="401669"/>
                </a:lnTo>
                <a:cubicBezTo>
                  <a:pt x="310706" y="390811"/>
                  <a:pt x="352520" y="388239"/>
                  <a:pt x="367856" y="388239"/>
                </a:cubicBezTo>
                <a:cubicBezTo>
                  <a:pt x="377381" y="388239"/>
                  <a:pt x="383762" y="394621"/>
                  <a:pt x="383762" y="402241"/>
                </a:cubicBezTo>
                <a:lnTo>
                  <a:pt x="383762" y="405384"/>
                </a:lnTo>
                <a:lnTo>
                  <a:pt x="363379" y="502253"/>
                </a:lnTo>
                <a:lnTo>
                  <a:pt x="469868" y="502253"/>
                </a:lnTo>
                <a:lnTo>
                  <a:pt x="491300" y="401479"/>
                </a:lnTo>
                <a:cubicBezTo>
                  <a:pt x="493871" y="390620"/>
                  <a:pt x="535972" y="388049"/>
                  <a:pt x="551021" y="388049"/>
                </a:cubicBezTo>
                <a:cubicBezTo>
                  <a:pt x="560546" y="388049"/>
                  <a:pt x="566928" y="394430"/>
                  <a:pt x="566928" y="402050"/>
                </a:cubicBezTo>
                <a:lnTo>
                  <a:pt x="566928" y="405194"/>
                </a:lnTo>
                <a:lnTo>
                  <a:pt x="546545" y="502063"/>
                </a:lnTo>
                <a:lnTo>
                  <a:pt x="611124" y="502063"/>
                </a:lnTo>
                <a:cubicBezTo>
                  <a:pt x="621792" y="504158"/>
                  <a:pt x="616649" y="535400"/>
                  <a:pt x="613029" y="552164"/>
                </a:cubicBezTo>
                <a:cubicBezTo>
                  <a:pt x="610648" y="562547"/>
                  <a:pt x="601790" y="571310"/>
                  <a:pt x="591312" y="571500"/>
                </a:cubicBezTo>
                <a:lnTo>
                  <a:pt x="216408" y="571310"/>
                </a:lnTo>
                <a:cubicBezTo>
                  <a:pt x="215170" y="571119"/>
                  <a:pt x="214503" y="570929"/>
                  <a:pt x="213265" y="570643"/>
                </a:cubicBezTo>
                <a:cubicBezTo>
                  <a:pt x="205835" y="568928"/>
                  <a:pt x="200978" y="561499"/>
                  <a:pt x="202883" y="552164"/>
                </a:cubicBezTo>
                <a:moveTo>
                  <a:pt x="177641" y="747713"/>
                </a:moveTo>
                <a:cubicBezTo>
                  <a:pt x="176403" y="747522"/>
                  <a:pt x="175736" y="747236"/>
                  <a:pt x="174403" y="747046"/>
                </a:cubicBezTo>
                <a:cubicBezTo>
                  <a:pt x="166973" y="745522"/>
                  <a:pt x="162116" y="737902"/>
                  <a:pt x="164021" y="728567"/>
                </a:cubicBezTo>
                <a:cubicBezTo>
                  <a:pt x="167164" y="713708"/>
                  <a:pt x="178499" y="678656"/>
                  <a:pt x="189548" y="678466"/>
                </a:cubicBezTo>
                <a:lnTo>
                  <a:pt x="249269" y="678466"/>
                </a:lnTo>
                <a:lnTo>
                  <a:pt x="264795" y="604933"/>
                </a:lnTo>
                <a:cubicBezTo>
                  <a:pt x="289846" y="589598"/>
                  <a:pt x="317945" y="579025"/>
                  <a:pt x="348139" y="574358"/>
                </a:cubicBezTo>
                <a:lnTo>
                  <a:pt x="326041" y="678466"/>
                </a:lnTo>
                <a:lnTo>
                  <a:pt x="432530" y="678466"/>
                </a:lnTo>
                <a:lnTo>
                  <a:pt x="447580" y="607695"/>
                </a:lnTo>
                <a:cubicBezTo>
                  <a:pt x="472440" y="591503"/>
                  <a:pt x="500729" y="580263"/>
                  <a:pt x="531114" y="574929"/>
                </a:cubicBezTo>
                <a:lnTo>
                  <a:pt x="509207" y="678371"/>
                </a:lnTo>
                <a:lnTo>
                  <a:pt x="572357" y="678371"/>
                </a:lnTo>
                <a:cubicBezTo>
                  <a:pt x="583025" y="680752"/>
                  <a:pt x="577882" y="711708"/>
                  <a:pt x="574262" y="728472"/>
                </a:cubicBezTo>
                <a:cubicBezTo>
                  <a:pt x="571881" y="739140"/>
                  <a:pt x="563023" y="747617"/>
                  <a:pt x="552545" y="747998"/>
                </a:cubicBezTo>
                <a:lnTo>
                  <a:pt x="177737" y="747617"/>
                </a:lnTo>
                <a:close/>
                <a:moveTo>
                  <a:pt x="290894" y="843534"/>
                </a:moveTo>
                <a:cubicBezTo>
                  <a:pt x="288322" y="853726"/>
                  <a:pt x="278130" y="860774"/>
                  <a:pt x="267272" y="860774"/>
                </a:cubicBezTo>
                <a:cubicBezTo>
                  <a:pt x="250031" y="860774"/>
                  <a:pt x="213265" y="858203"/>
                  <a:pt x="213265" y="847439"/>
                </a:cubicBezTo>
                <a:lnTo>
                  <a:pt x="227552" y="780479"/>
                </a:lnTo>
                <a:cubicBezTo>
                  <a:pt x="252413" y="765429"/>
                  <a:pt x="280702" y="754952"/>
                  <a:pt x="310610" y="750570"/>
                </a:cubicBezTo>
                <a:lnTo>
                  <a:pt x="290894" y="843629"/>
                </a:lnTo>
                <a:close/>
                <a:moveTo>
                  <a:pt x="396526" y="847344"/>
                </a:moveTo>
                <a:lnTo>
                  <a:pt x="410147" y="783146"/>
                </a:lnTo>
                <a:cubicBezTo>
                  <a:pt x="435197" y="767239"/>
                  <a:pt x="463487" y="756380"/>
                  <a:pt x="493681" y="751237"/>
                </a:cubicBezTo>
                <a:lnTo>
                  <a:pt x="474155" y="843439"/>
                </a:lnTo>
                <a:cubicBezTo>
                  <a:pt x="471583" y="853631"/>
                  <a:pt x="461391" y="860393"/>
                  <a:pt x="450533" y="860393"/>
                </a:cubicBezTo>
                <a:cubicBezTo>
                  <a:pt x="433578" y="860393"/>
                  <a:pt x="396526" y="858107"/>
                  <a:pt x="396526" y="847249"/>
                </a:cubicBezTo>
                <a:moveTo>
                  <a:pt x="1028795" y="452438"/>
                </a:moveTo>
                <a:lnTo>
                  <a:pt x="1022413" y="483680"/>
                </a:lnTo>
                <a:cubicBezTo>
                  <a:pt x="1003078" y="574643"/>
                  <a:pt x="931450" y="614172"/>
                  <a:pt x="876872" y="629031"/>
                </a:cubicBezTo>
                <a:cubicBezTo>
                  <a:pt x="926211" y="636651"/>
                  <a:pt x="974217" y="670941"/>
                  <a:pt x="974217" y="748856"/>
                </a:cubicBezTo>
                <a:cubicBezTo>
                  <a:pt x="974217" y="763905"/>
                  <a:pt x="973169" y="781145"/>
                  <a:pt x="968883" y="799243"/>
                </a:cubicBezTo>
                <a:lnTo>
                  <a:pt x="960406" y="838772"/>
                </a:lnTo>
                <a:cubicBezTo>
                  <a:pt x="925163" y="1003649"/>
                  <a:pt x="785908" y="1052989"/>
                  <a:pt x="654368" y="1052989"/>
                </a:cubicBezTo>
                <a:cubicBezTo>
                  <a:pt x="579311" y="1052989"/>
                  <a:pt x="455295" y="1040035"/>
                  <a:pt x="455295" y="1017746"/>
                </a:cubicBezTo>
                <a:cubicBezTo>
                  <a:pt x="455295" y="1007936"/>
                  <a:pt x="482060" y="955453"/>
                  <a:pt x="499110" y="955453"/>
                </a:cubicBezTo>
                <a:cubicBezTo>
                  <a:pt x="544163" y="960977"/>
                  <a:pt x="590264" y="969455"/>
                  <a:pt x="644652" y="969455"/>
                </a:cubicBezTo>
                <a:cubicBezTo>
                  <a:pt x="733520" y="969455"/>
                  <a:pt x="843725" y="952214"/>
                  <a:pt x="865251" y="842201"/>
                </a:cubicBezTo>
                <a:lnTo>
                  <a:pt x="872681" y="803529"/>
                </a:lnTo>
                <a:cubicBezTo>
                  <a:pt x="874776" y="789718"/>
                  <a:pt x="876967" y="777812"/>
                  <a:pt x="876967" y="767144"/>
                </a:cubicBezTo>
                <a:cubicBezTo>
                  <a:pt x="876967" y="689991"/>
                  <a:pt x="807434" y="676180"/>
                  <a:pt x="721805" y="676180"/>
                </a:cubicBezTo>
                <a:lnTo>
                  <a:pt x="687610" y="676180"/>
                </a:lnTo>
                <a:cubicBezTo>
                  <a:pt x="678847" y="676180"/>
                  <a:pt x="675704" y="657892"/>
                  <a:pt x="675704" y="638747"/>
                </a:cubicBezTo>
                <a:cubicBezTo>
                  <a:pt x="675704" y="611981"/>
                  <a:pt x="683324" y="591598"/>
                  <a:pt x="705707" y="591598"/>
                </a:cubicBezTo>
                <a:lnTo>
                  <a:pt x="725043" y="591598"/>
                </a:lnTo>
                <a:cubicBezTo>
                  <a:pt x="824484" y="591598"/>
                  <a:pt x="912209" y="564833"/>
                  <a:pt x="928402" y="479203"/>
                </a:cubicBezTo>
                <a:lnTo>
                  <a:pt x="932688" y="456914"/>
                </a:lnTo>
                <a:cubicBezTo>
                  <a:pt x="935831" y="443960"/>
                  <a:pt x="936974" y="431197"/>
                  <a:pt x="936974" y="420338"/>
                </a:cubicBezTo>
                <a:cubicBezTo>
                  <a:pt x="936974" y="358331"/>
                  <a:pt x="888968" y="339185"/>
                  <a:pt x="786098" y="339185"/>
                </a:cubicBezTo>
                <a:cubicBezTo>
                  <a:pt x="751904" y="339185"/>
                  <a:pt x="718757" y="342424"/>
                  <a:pt x="644747" y="350901"/>
                </a:cubicBezTo>
                <a:cubicBezTo>
                  <a:pt x="634175" y="350901"/>
                  <a:pt x="628840" y="327279"/>
                  <a:pt x="628840" y="307086"/>
                </a:cubicBezTo>
                <a:cubicBezTo>
                  <a:pt x="628840" y="300514"/>
                  <a:pt x="628840" y="296228"/>
                  <a:pt x="629888" y="290894"/>
                </a:cubicBezTo>
                <a:cubicBezTo>
                  <a:pt x="635222" y="265176"/>
                  <a:pt x="750761" y="257747"/>
                  <a:pt x="826675" y="257747"/>
                </a:cubicBezTo>
                <a:cubicBezTo>
                  <a:pt x="957358" y="257747"/>
                  <a:pt x="1035558" y="289846"/>
                  <a:pt x="1035558" y="393764"/>
                </a:cubicBezTo>
                <a:cubicBezTo>
                  <a:pt x="1035558" y="410813"/>
                  <a:pt x="1033272" y="430149"/>
                  <a:pt x="1028986" y="452438"/>
                </a:cubicBezTo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64535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837379-1532-9A48-BB85-CA46BB4E4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508D53B-DD54-EBF9-A009-9B3120BC11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8292968-3AFF-4F79-9D44-F10DA0A326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9F395B-6FEF-740A-DEB3-DB402C3C7F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54DEA71-69A9-0778-AD9B-6D15EC770BE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665288"/>
            <a:ext cx="11166475" cy="457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02043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Vollbill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0C36F7B-CB8A-001F-3E57-1FA6C30D79F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12192000" cy="6858000"/>
          </a:xfrm>
          <a:solidFill>
            <a:srgbClr val="D6D6D8"/>
          </a:solidFill>
        </p:spPr>
        <p:txBody>
          <a:bodyPr/>
          <a:lstStyle/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E8790F5-6FA4-3935-0C40-D53543231D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FB02532-072D-48EF-033B-388181DFEC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0398D80-1714-E675-DA34-356FB2C837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5A6C49DC-A10D-DA2B-B2DF-02BB90F8275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043793" y="5840564"/>
            <a:ext cx="8104414" cy="83011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6000" b="1" kern="1200" cap="all" baseline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endParaRPr lang="de-DE"/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A6E6B5CE-60F7-64E5-5035-44DB9A31079D}"/>
              </a:ext>
            </a:extLst>
          </p:cNvPr>
          <p:cNvSpPr txBox="1"/>
          <p:nvPr userDrawn="1"/>
        </p:nvSpPr>
        <p:spPr bwMode="gray">
          <a:xfrm>
            <a:off x="-3798888" y="158750"/>
            <a:ext cx="3349745" cy="812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100" b="1">
                <a:latin typeface="Calibri" panose="020F0502020204030204" pitchFamily="34" charset="0"/>
                <a:cs typeface="Calibri" panose="020F0502020204030204" pitchFamily="34" charset="0"/>
              </a:rPr>
              <a:t>Bildaustauschen:</a:t>
            </a:r>
          </a:p>
          <a:p>
            <a:endParaRPr lang="de-DE" sz="1100" b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AutoNum type="arabicPeriod"/>
            </a:pPr>
            <a:r>
              <a:rPr lang="de-DE" sz="1100">
                <a:latin typeface="Calibri" panose="020F0502020204030204" pitchFamily="34" charset="0"/>
                <a:cs typeface="Calibri" panose="020F0502020204030204" pitchFamily="34" charset="0"/>
              </a:rPr>
              <a:t>Bild anklicken, auf die Taste „Entf“ drücken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de-DE" sz="1100">
                <a:latin typeface="Calibri" panose="020F0502020204030204" pitchFamily="34" charset="0"/>
                <a:cs typeface="Calibri" panose="020F0502020204030204" pitchFamily="34" charset="0"/>
              </a:rPr>
              <a:t>Das gewünschte Bild aus den Dateien in die Präsentation ziehen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de-DE" sz="1100">
                <a:latin typeface="Calibri" panose="020F0502020204030204" pitchFamily="34" charset="0"/>
                <a:cs typeface="Calibri" panose="020F0502020204030204" pitchFamily="34" charset="0"/>
              </a:rPr>
              <a:t>Das Bild über den Reiter „Bildformat“ in den Hintergrund legen.</a:t>
            </a:r>
            <a:endParaRPr lang="de-DE" sz="1400" b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79689E0C-1116-8AD0-9116-3FC923FD042B}"/>
              </a:ext>
            </a:extLst>
          </p:cNvPr>
          <p:cNvSpPr txBox="1"/>
          <p:nvPr userDrawn="1"/>
        </p:nvSpPr>
        <p:spPr bwMode="gray">
          <a:xfrm>
            <a:off x="-3798888" y="3136900"/>
            <a:ext cx="3349745" cy="3528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1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DC0D635A-87B1-BC07-61F7-E11C6AB6BD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798888" y="1417623"/>
            <a:ext cx="3345751" cy="1778329"/>
          </a:xfrm>
          <a:prstGeom prst="rect">
            <a:avLst/>
          </a:prstGeom>
        </p:spPr>
      </p:pic>
      <p:sp>
        <p:nvSpPr>
          <p:cNvPr id="41" name="Textplatzhalter 25">
            <a:extLst>
              <a:ext uri="{FF2B5EF4-FFF2-40B4-BE49-F238E27FC236}">
                <a16:creationId xmlns:a16="http://schemas.microsoft.com/office/drawing/2014/main" id="{E3E4B2A2-8DF7-67E8-6B76-73A7ED9658A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1984730"/>
            <a:ext cx="5023838" cy="1763219"/>
          </a:xfrm>
        </p:spPr>
        <p:txBody>
          <a:bodyPr>
            <a:normAutofit/>
          </a:bodyPr>
          <a:lstStyle>
            <a:lvl1pPr algn="l">
              <a:defRPr sz="6000" b="1">
                <a:solidFill>
                  <a:schemeClr val="bg1"/>
                </a:solidFill>
                <a:latin typeface="Overpass Black" panose="00000A00000000000000" pitchFamily="2" charset="0"/>
              </a:defRPr>
            </a:lvl1pPr>
          </a:lstStyle>
          <a:p>
            <a:pPr lvl="0"/>
            <a:endParaRPr lang="de-DE"/>
          </a:p>
        </p:txBody>
      </p:sp>
      <p:sp>
        <p:nvSpPr>
          <p:cNvPr id="43" name="Textplatzhalter 25">
            <a:extLst>
              <a:ext uri="{FF2B5EF4-FFF2-40B4-BE49-F238E27FC236}">
                <a16:creationId xmlns:a16="http://schemas.microsoft.com/office/drawing/2014/main" id="{EFFDC3C8-0E6B-5496-E4D1-A26D4190A5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8" y="4100795"/>
            <a:ext cx="3682999" cy="1624446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805887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CA066BED-B7B9-CD50-15BF-46083FFDA3F6}"/>
              </a:ext>
            </a:extLst>
          </p:cNvPr>
          <p:cNvSpPr/>
          <p:nvPr userDrawn="1"/>
        </p:nvSpPr>
        <p:spPr>
          <a:xfrm>
            <a:off x="5994399" y="0"/>
            <a:ext cx="6197599" cy="6855527"/>
          </a:xfrm>
          <a:custGeom>
            <a:avLst/>
            <a:gdLst>
              <a:gd name="connsiteX0" fmla="*/ 0 w 6197599"/>
              <a:gd name="connsiteY0" fmla="*/ 0 h 6855527"/>
              <a:gd name="connsiteX1" fmla="*/ 6197599 w 6197599"/>
              <a:gd name="connsiteY1" fmla="*/ 0 h 6855527"/>
              <a:gd name="connsiteX2" fmla="*/ 6197599 w 6197599"/>
              <a:gd name="connsiteY2" fmla="*/ 6855527 h 6855527"/>
              <a:gd name="connsiteX3" fmla="*/ 218267 w 6197599"/>
              <a:gd name="connsiteY3" fmla="*/ 6855527 h 6855527"/>
              <a:gd name="connsiteX4" fmla="*/ 1550823 w 6197599"/>
              <a:gd name="connsiteY4" fmla="*/ 1 h 6855527"/>
              <a:gd name="connsiteX5" fmla="*/ 0 w 6197599"/>
              <a:gd name="connsiteY5" fmla="*/ 1 h 6855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7599" h="6855527">
                <a:moveTo>
                  <a:pt x="0" y="0"/>
                </a:moveTo>
                <a:lnTo>
                  <a:pt x="6197599" y="0"/>
                </a:lnTo>
                <a:lnTo>
                  <a:pt x="6197599" y="6855527"/>
                </a:lnTo>
                <a:lnTo>
                  <a:pt x="218267" y="6855527"/>
                </a:lnTo>
                <a:lnTo>
                  <a:pt x="1550823" y="1"/>
                </a:lnTo>
                <a:lnTo>
                  <a:pt x="0" y="1"/>
                </a:lnTo>
                <a:close/>
              </a:path>
            </a:pathLst>
          </a:cu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5837379-1532-9A48-BB85-CA46BB4E4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1010888"/>
            <a:ext cx="5400675" cy="7965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508D53B-DD54-EBF9-A009-9B3120BC11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8292968-3AFF-4F79-9D44-F10DA0A326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9F395B-6FEF-740A-DEB3-DB402C3C7F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6" name="Inhaltsplatzhalter 6">
            <a:extLst>
              <a:ext uri="{FF2B5EF4-FFF2-40B4-BE49-F238E27FC236}">
                <a16:creationId xmlns:a16="http://schemas.microsoft.com/office/drawing/2014/main" id="{0F3AF24E-5253-3796-3DF9-B7943DDB260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989058"/>
            <a:ext cx="5400675" cy="424822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05949402-3440-43FC-F64B-57D4B0BE3C6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664450" y="1665288"/>
            <a:ext cx="4011612" cy="4572000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Grafik 12">
            <a:extLst>
              <a:ext uri="{FF2B5EF4-FFF2-40B4-BE49-F238E27FC236}">
                <a16:creationId xmlns:a16="http://schemas.microsoft.com/office/drawing/2014/main" id="{9A05A647-214D-99CF-F208-DEE6E00C1F5A}"/>
              </a:ext>
            </a:extLst>
          </p:cNvPr>
          <p:cNvSpPr/>
          <p:nvPr userDrawn="1"/>
        </p:nvSpPr>
        <p:spPr>
          <a:xfrm>
            <a:off x="11424981" y="307435"/>
            <a:ext cx="521802" cy="521881"/>
          </a:xfrm>
          <a:custGeom>
            <a:avLst/>
            <a:gdLst>
              <a:gd name="connsiteX0" fmla="*/ 629888 w 1259776"/>
              <a:gd name="connsiteY0" fmla="*/ 0 h 1259966"/>
              <a:gd name="connsiteX1" fmla="*/ 0 w 1259776"/>
              <a:gd name="connsiteY1" fmla="*/ 629888 h 1259966"/>
              <a:gd name="connsiteX2" fmla="*/ 629888 w 1259776"/>
              <a:gd name="connsiteY2" fmla="*/ 1259967 h 1259966"/>
              <a:gd name="connsiteX3" fmla="*/ 1259777 w 1259776"/>
              <a:gd name="connsiteY3" fmla="*/ 629888 h 1259966"/>
              <a:gd name="connsiteX4" fmla="*/ 629888 w 1259776"/>
              <a:gd name="connsiteY4" fmla="*/ 0 h 1259966"/>
              <a:gd name="connsiteX5" fmla="*/ 202978 w 1259776"/>
              <a:gd name="connsiteY5" fmla="*/ 552545 h 1259966"/>
              <a:gd name="connsiteX6" fmla="*/ 228505 w 1259776"/>
              <a:gd name="connsiteY6" fmla="*/ 502444 h 1259966"/>
              <a:gd name="connsiteX7" fmla="*/ 286703 w 1259776"/>
              <a:gd name="connsiteY7" fmla="*/ 502444 h 1259966"/>
              <a:gd name="connsiteX8" fmla="*/ 308134 w 1259776"/>
              <a:gd name="connsiteY8" fmla="*/ 401669 h 1259966"/>
              <a:gd name="connsiteX9" fmla="*/ 367856 w 1259776"/>
              <a:gd name="connsiteY9" fmla="*/ 388239 h 1259966"/>
              <a:gd name="connsiteX10" fmla="*/ 383762 w 1259776"/>
              <a:gd name="connsiteY10" fmla="*/ 402241 h 1259966"/>
              <a:gd name="connsiteX11" fmla="*/ 383762 w 1259776"/>
              <a:gd name="connsiteY11" fmla="*/ 405384 h 1259966"/>
              <a:gd name="connsiteX12" fmla="*/ 363379 w 1259776"/>
              <a:gd name="connsiteY12" fmla="*/ 502253 h 1259966"/>
              <a:gd name="connsiteX13" fmla="*/ 469868 w 1259776"/>
              <a:gd name="connsiteY13" fmla="*/ 502253 h 1259966"/>
              <a:gd name="connsiteX14" fmla="*/ 491300 w 1259776"/>
              <a:gd name="connsiteY14" fmla="*/ 401479 h 1259966"/>
              <a:gd name="connsiteX15" fmla="*/ 551021 w 1259776"/>
              <a:gd name="connsiteY15" fmla="*/ 388049 h 1259966"/>
              <a:gd name="connsiteX16" fmla="*/ 566928 w 1259776"/>
              <a:gd name="connsiteY16" fmla="*/ 402050 h 1259966"/>
              <a:gd name="connsiteX17" fmla="*/ 566928 w 1259776"/>
              <a:gd name="connsiteY17" fmla="*/ 405194 h 1259966"/>
              <a:gd name="connsiteX18" fmla="*/ 546545 w 1259776"/>
              <a:gd name="connsiteY18" fmla="*/ 502063 h 1259966"/>
              <a:gd name="connsiteX19" fmla="*/ 611124 w 1259776"/>
              <a:gd name="connsiteY19" fmla="*/ 502063 h 1259966"/>
              <a:gd name="connsiteX20" fmla="*/ 613029 w 1259776"/>
              <a:gd name="connsiteY20" fmla="*/ 552164 h 1259966"/>
              <a:gd name="connsiteX21" fmla="*/ 591312 w 1259776"/>
              <a:gd name="connsiteY21" fmla="*/ 571500 h 1259966"/>
              <a:gd name="connsiteX22" fmla="*/ 216408 w 1259776"/>
              <a:gd name="connsiteY22" fmla="*/ 571310 h 1259966"/>
              <a:gd name="connsiteX23" fmla="*/ 213265 w 1259776"/>
              <a:gd name="connsiteY23" fmla="*/ 570643 h 1259966"/>
              <a:gd name="connsiteX24" fmla="*/ 202883 w 1259776"/>
              <a:gd name="connsiteY24" fmla="*/ 552164 h 1259966"/>
              <a:gd name="connsiteX25" fmla="*/ 177641 w 1259776"/>
              <a:gd name="connsiteY25" fmla="*/ 747713 h 1259966"/>
              <a:gd name="connsiteX26" fmla="*/ 174403 w 1259776"/>
              <a:gd name="connsiteY26" fmla="*/ 747046 h 1259966"/>
              <a:gd name="connsiteX27" fmla="*/ 164021 w 1259776"/>
              <a:gd name="connsiteY27" fmla="*/ 728567 h 1259966"/>
              <a:gd name="connsiteX28" fmla="*/ 189548 w 1259776"/>
              <a:gd name="connsiteY28" fmla="*/ 678466 h 1259966"/>
              <a:gd name="connsiteX29" fmla="*/ 249269 w 1259776"/>
              <a:gd name="connsiteY29" fmla="*/ 678466 h 1259966"/>
              <a:gd name="connsiteX30" fmla="*/ 264795 w 1259776"/>
              <a:gd name="connsiteY30" fmla="*/ 604933 h 1259966"/>
              <a:gd name="connsiteX31" fmla="*/ 348139 w 1259776"/>
              <a:gd name="connsiteY31" fmla="*/ 574358 h 1259966"/>
              <a:gd name="connsiteX32" fmla="*/ 326041 w 1259776"/>
              <a:gd name="connsiteY32" fmla="*/ 678466 h 1259966"/>
              <a:gd name="connsiteX33" fmla="*/ 432530 w 1259776"/>
              <a:gd name="connsiteY33" fmla="*/ 678466 h 1259966"/>
              <a:gd name="connsiteX34" fmla="*/ 447580 w 1259776"/>
              <a:gd name="connsiteY34" fmla="*/ 607695 h 1259966"/>
              <a:gd name="connsiteX35" fmla="*/ 531114 w 1259776"/>
              <a:gd name="connsiteY35" fmla="*/ 574929 h 1259966"/>
              <a:gd name="connsiteX36" fmla="*/ 509207 w 1259776"/>
              <a:gd name="connsiteY36" fmla="*/ 678371 h 1259966"/>
              <a:gd name="connsiteX37" fmla="*/ 572357 w 1259776"/>
              <a:gd name="connsiteY37" fmla="*/ 678371 h 1259966"/>
              <a:gd name="connsiteX38" fmla="*/ 574262 w 1259776"/>
              <a:gd name="connsiteY38" fmla="*/ 728472 h 1259966"/>
              <a:gd name="connsiteX39" fmla="*/ 552545 w 1259776"/>
              <a:gd name="connsiteY39" fmla="*/ 747998 h 1259966"/>
              <a:gd name="connsiteX40" fmla="*/ 177737 w 1259776"/>
              <a:gd name="connsiteY40" fmla="*/ 747617 h 1259966"/>
              <a:gd name="connsiteX41" fmla="*/ 290894 w 1259776"/>
              <a:gd name="connsiteY41" fmla="*/ 843534 h 1259966"/>
              <a:gd name="connsiteX42" fmla="*/ 267272 w 1259776"/>
              <a:gd name="connsiteY42" fmla="*/ 860774 h 1259966"/>
              <a:gd name="connsiteX43" fmla="*/ 213265 w 1259776"/>
              <a:gd name="connsiteY43" fmla="*/ 847439 h 1259966"/>
              <a:gd name="connsiteX44" fmla="*/ 227552 w 1259776"/>
              <a:gd name="connsiteY44" fmla="*/ 780479 h 1259966"/>
              <a:gd name="connsiteX45" fmla="*/ 310610 w 1259776"/>
              <a:gd name="connsiteY45" fmla="*/ 750570 h 1259966"/>
              <a:gd name="connsiteX46" fmla="*/ 290894 w 1259776"/>
              <a:gd name="connsiteY46" fmla="*/ 843629 h 1259966"/>
              <a:gd name="connsiteX47" fmla="*/ 396526 w 1259776"/>
              <a:gd name="connsiteY47" fmla="*/ 847344 h 1259966"/>
              <a:gd name="connsiteX48" fmla="*/ 410147 w 1259776"/>
              <a:gd name="connsiteY48" fmla="*/ 783146 h 1259966"/>
              <a:gd name="connsiteX49" fmla="*/ 493681 w 1259776"/>
              <a:gd name="connsiteY49" fmla="*/ 751237 h 1259966"/>
              <a:gd name="connsiteX50" fmla="*/ 474155 w 1259776"/>
              <a:gd name="connsiteY50" fmla="*/ 843439 h 1259966"/>
              <a:gd name="connsiteX51" fmla="*/ 450533 w 1259776"/>
              <a:gd name="connsiteY51" fmla="*/ 860393 h 1259966"/>
              <a:gd name="connsiteX52" fmla="*/ 396526 w 1259776"/>
              <a:gd name="connsiteY52" fmla="*/ 847249 h 1259966"/>
              <a:gd name="connsiteX53" fmla="*/ 1028795 w 1259776"/>
              <a:gd name="connsiteY53" fmla="*/ 452438 h 1259966"/>
              <a:gd name="connsiteX54" fmla="*/ 1022413 w 1259776"/>
              <a:gd name="connsiteY54" fmla="*/ 483680 h 1259966"/>
              <a:gd name="connsiteX55" fmla="*/ 876872 w 1259776"/>
              <a:gd name="connsiteY55" fmla="*/ 629031 h 1259966"/>
              <a:gd name="connsiteX56" fmla="*/ 974217 w 1259776"/>
              <a:gd name="connsiteY56" fmla="*/ 748856 h 1259966"/>
              <a:gd name="connsiteX57" fmla="*/ 968883 w 1259776"/>
              <a:gd name="connsiteY57" fmla="*/ 799243 h 1259966"/>
              <a:gd name="connsiteX58" fmla="*/ 960406 w 1259776"/>
              <a:gd name="connsiteY58" fmla="*/ 838772 h 1259966"/>
              <a:gd name="connsiteX59" fmla="*/ 654368 w 1259776"/>
              <a:gd name="connsiteY59" fmla="*/ 1052989 h 1259966"/>
              <a:gd name="connsiteX60" fmla="*/ 455295 w 1259776"/>
              <a:gd name="connsiteY60" fmla="*/ 1017746 h 1259966"/>
              <a:gd name="connsiteX61" fmla="*/ 499110 w 1259776"/>
              <a:gd name="connsiteY61" fmla="*/ 955453 h 1259966"/>
              <a:gd name="connsiteX62" fmla="*/ 644652 w 1259776"/>
              <a:gd name="connsiteY62" fmla="*/ 969455 h 1259966"/>
              <a:gd name="connsiteX63" fmla="*/ 865251 w 1259776"/>
              <a:gd name="connsiteY63" fmla="*/ 842201 h 1259966"/>
              <a:gd name="connsiteX64" fmla="*/ 872681 w 1259776"/>
              <a:gd name="connsiteY64" fmla="*/ 803529 h 1259966"/>
              <a:gd name="connsiteX65" fmla="*/ 876967 w 1259776"/>
              <a:gd name="connsiteY65" fmla="*/ 767144 h 1259966"/>
              <a:gd name="connsiteX66" fmla="*/ 721805 w 1259776"/>
              <a:gd name="connsiteY66" fmla="*/ 676180 h 1259966"/>
              <a:gd name="connsiteX67" fmla="*/ 687610 w 1259776"/>
              <a:gd name="connsiteY67" fmla="*/ 676180 h 1259966"/>
              <a:gd name="connsiteX68" fmla="*/ 675704 w 1259776"/>
              <a:gd name="connsiteY68" fmla="*/ 638747 h 1259966"/>
              <a:gd name="connsiteX69" fmla="*/ 705707 w 1259776"/>
              <a:gd name="connsiteY69" fmla="*/ 591598 h 1259966"/>
              <a:gd name="connsiteX70" fmla="*/ 725043 w 1259776"/>
              <a:gd name="connsiteY70" fmla="*/ 591598 h 1259966"/>
              <a:gd name="connsiteX71" fmla="*/ 928402 w 1259776"/>
              <a:gd name="connsiteY71" fmla="*/ 479203 h 1259966"/>
              <a:gd name="connsiteX72" fmla="*/ 932688 w 1259776"/>
              <a:gd name="connsiteY72" fmla="*/ 456914 h 1259966"/>
              <a:gd name="connsiteX73" fmla="*/ 936974 w 1259776"/>
              <a:gd name="connsiteY73" fmla="*/ 420338 h 1259966"/>
              <a:gd name="connsiteX74" fmla="*/ 786098 w 1259776"/>
              <a:gd name="connsiteY74" fmla="*/ 339185 h 1259966"/>
              <a:gd name="connsiteX75" fmla="*/ 644747 w 1259776"/>
              <a:gd name="connsiteY75" fmla="*/ 350901 h 1259966"/>
              <a:gd name="connsiteX76" fmla="*/ 628840 w 1259776"/>
              <a:gd name="connsiteY76" fmla="*/ 307086 h 1259966"/>
              <a:gd name="connsiteX77" fmla="*/ 629888 w 1259776"/>
              <a:gd name="connsiteY77" fmla="*/ 290894 h 1259966"/>
              <a:gd name="connsiteX78" fmla="*/ 826675 w 1259776"/>
              <a:gd name="connsiteY78" fmla="*/ 257747 h 1259966"/>
              <a:gd name="connsiteX79" fmla="*/ 1035558 w 1259776"/>
              <a:gd name="connsiteY79" fmla="*/ 393764 h 1259966"/>
              <a:gd name="connsiteX80" fmla="*/ 1028986 w 1259776"/>
              <a:gd name="connsiteY80" fmla="*/ 452438 h 1259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1259776" h="1259966">
                <a:moveTo>
                  <a:pt x="629888" y="0"/>
                </a:moveTo>
                <a:cubicBezTo>
                  <a:pt x="282035" y="0"/>
                  <a:pt x="0" y="282035"/>
                  <a:pt x="0" y="629888"/>
                </a:cubicBezTo>
                <a:cubicBezTo>
                  <a:pt x="0" y="977741"/>
                  <a:pt x="282035" y="1259967"/>
                  <a:pt x="629888" y="1259967"/>
                </a:cubicBezTo>
                <a:cubicBezTo>
                  <a:pt x="977741" y="1259967"/>
                  <a:pt x="1259777" y="977741"/>
                  <a:pt x="1259777" y="629888"/>
                </a:cubicBezTo>
                <a:cubicBezTo>
                  <a:pt x="1259777" y="282035"/>
                  <a:pt x="977741" y="0"/>
                  <a:pt x="629888" y="0"/>
                </a:cubicBezTo>
                <a:moveTo>
                  <a:pt x="202978" y="552545"/>
                </a:moveTo>
                <a:cubicBezTo>
                  <a:pt x="206121" y="537686"/>
                  <a:pt x="217456" y="502634"/>
                  <a:pt x="228505" y="502444"/>
                </a:cubicBezTo>
                <a:lnTo>
                  <a:pt x="286703" y="502444"/>
                </a:lnTo>
                <a:lnTo>
                  <a:pt x="308134" y="401669"/>
                </a:lnTo>
                <a:cubicBezTo>
                  <a:pt x="310706" y="390811"/>
                  <a:pt x="352520" y="388239"/>
                  <a:pt x="367856" y="388239"/>
                </a:cubicBezTo>
                <a:cubicBezTo>
                  <a:pt x="377381" y="388239"/>
                  <a:pt x="383762" y="394621"/>
                  <a:pt x="383762" y="402241"/>
                </a:cubicBezTo>
                <a:lnTo>
                  <a:pt x="383762" y="405384"/>
                </a:lnTo>
                <a:lnTo>
                  <a:pt x="363379" y="502253"/>
                </a:lnTo>
                <a:lnTo>
                  <a:pt x="469868" y="502253"/>
                </a:lnTo>
                <a:lnTo>
                  <a:pt x="491300" y="401479"/>
                </a:lnTo>
                <a:cubicBezTo>
                  <a:pt x="493871" y="390620"/>
                  <a:pt x="535972" y="388049"/>
                  <a:pt x="551021" y="388049"/>
                </a:cubicBezTo>
                <a:cubicBezTo>
                  <a:pt x="560546" y="388049"/>
                  <a:pt x="566928" y="394430"/>
                  <a:pt x="566928" y="402050"/>
                </a:cubicBezTo>
                <a:lnTo>
                  <a:pt x="566928" y="405194"/>
                </a:lnTo>
                <a:lnTo>
                  <a:pt x="546545" y="502063"/>
                </a:lnTo>
                <a:lnTo>
                  <a:pt x="611124" y="502063"/>
                </a:lnTo>
                <a:cubicBezTo>
                  <a:pt x="621792" y="504158"/>
                  <a:pt x="616649" y="535400"/>
                  <a:pt x="613029" y="552164"/>
                </a:cubicBezTo>
                <a:cubicBezTo>
                  <a:pt x="610648" y="562547"/>
                  <a:pt x="601790" y="571310"/>
                  <a:pt x="591312" y="571500"/>
                </a:cubicBezTo>
                <a:lnTo>
                  <a:pt x="216408" y="571310"/>
                </a:lnTo>
                <a:cubicBezTo>
                  <a:pt x="215170" y="571119"/>
                  <a:pt x="214503" y="570929"/>
                  <a:pt x="213265" y="570643"/>
                </a:cubicBezTo>
                <a:cubicBezTo>
                  <a:pt x="205835" y="568928"/>
                  <a:pt x="200978" y="561499"/>
                  <a:pt x="202883" y="552164"/>
                </a:cubicBezTo>
                <a:moveTo>
                  <a:pt x="177641" y="747713"/>
                </a:moveTo>
                <a:cubicBezTo>
                  <a:pt x="176403" y="747522"/>
                  <a:pt x="175736" y="747236"/>
                  <a:pt x="174403" y="747046"/>
                </a:cubicBezTo>
                <a:cubicBezTo>
                  <a:pt x="166973" y="745522"/>
                  <a:pt x="162116" y="737902"/>
                  <a:pt x="164021" y="728567"/>
                </a:cubicBezTo>
                <a:cubicBezTo>
                  <a:pt x="167164" y="713708"/>
                  <a:pt x="178499" y="678656"/>
                  <a:pt x="189548" y="678466"/>
                </a:cubicBezTo>
                <a:lnTo>
                  <a:pt x="249269" y="678466"/>
                </a:lnTo>
                <a:lnTo>
                  <a:pt x="264795" y="604933"/>
                </a:lnTo>
                <a:cubicBezTo>
                  <a:pt x="289846" y="589598"/>
                  <a:pt x="317945" y="579025"/>
                  <a:pt x="348139" y="574358"/>
                </a:cubicBezTo>
                <a:lnTo>
                  <a:pt x="326041" y="678466"/>
                </a:lnTo>
                <a:lnTo>
                  <a:pt x="432530" y="678466"/>
                </a:lnTo>
                <a:lnTo>
                  <a:pt x="447580" y="607695"/>
                </a:lnTo>
                <a:cubicBezTo>
                  <a:pt x="472440" y="591503"/>
                  <a:pt x="500729" y="580263"/>
                  <a:pt x="531114" y="574929"/>
                </a:cubicBezTo>
                <a:lnTo>
                  <a:pt x="509207" y="678371"/>
                </a:lnTo>
                <a:lnTo>
                  <a:pt x="572357" y="678371"/>
                </a:lnTo>
                <a:cubicBezTo>
                  <a:pt x="583025" y="680752"/>
                  <a:pt x="577882" y="711708"/>
                  <a:pt x="574262" y="728472"/>
                </a:cubicBezTo>
                <a:cubicBezTo>
                  <a:pt x="571881" y="739140"/>
                  <a:pt x="563023" y="747617"/>
                  <a:pt x="552545" y="747998"/>
                </a:cubicBezTo>
                <a:lnTo>
                  <a:pt x="177737" y="747617"/>
                </a:lnTo>
                <a:close/>
                <a:moveTo>
                  <a:pt x="290894" y="843534"/>
                </a:moveTo>
                <a:cubicBezTo>
                  <a:pt x="288322" y="853726"/>
                  <a:pt x="278130" y="860774"/>
                  <a:pt x="267272" y="860774"/>
                </a:cubicBezTo>
                <a:cubicBezTo>
                  <a:pt x="250031" y="860774"/>
                  <a:pt x="213265" y="858203"/>
                  <a:pt x="213265" y="847439"/>
                </a:cubicBezTo>
                <a:lnTo>
                  <a:pt x="227552" y="780479"/>
                </a:lnTo>
                <a:cubicBezTo>
                  <a:pt x="252413" y="765429"/>
                  <a:pt x="280702" y="754952"/>
                  <a:pt x="310610" y="750570"/>
                </a:cubicBezTo>
                <a:lnTo>
                  <a:pt x="290894" y="843629"/>
                </a:lnTo>
                <a:close/>
                <a:moveTo>
                  <a:pt x="396526" y="847344"/>
                </a:moveTo>
                <a:lnTo>
                  <a:pt x="410147" y="783146"/>
                </a:lnTo>
                <a:cubicBezTo>
                  <a:pt x="435197" y="767239"/>
                  <a:pt x="463487" y="756380"/>
                  <a:pt x="493681" y="751237"/>
                </a:cubicBezTo>
                <a:lnTo>
                  <a:pt x="474155" y="843439"/>
                </a:lnTo>
                <a:cubicBezTo>
                  <a:pt x="471583" y="853631"/>
                  <a:pt x="461391" y="860393"/>
                  <a:pt x="450533" y="860393"/>
                </a:cubicBezTo>
                <a:cubicBezTo>
                  <a:pt x="433578" y="860393"/>
                  <a:pt x="396526" y="858107"/>
                  <a:pt x="396526" y="847249"/>
                </a:cubicBezTo>
                <a:moveTo>
                  <a:pt x="1028795" y="452438"/>
                </a:moveTo>
                <a:lnTo>
                  <a:pt x="1022413" y="483680"/>
                </a:lnTo>
                <a:cubicBezTo>
                  <a:pt x="1003078" y="574643"/>
                  <a:pt x="931450" y="614172"/>
                  <a:pt x="876872" y="629031"/>
                </a:cubicBezTo>
                <a:cubicBezTo>
                  <a:pt x="926211" y="636651"/>
                  <a:pt x="974217" y="670941"/>
                  <a:pt x="974217" y="748856"/>
                </a:cubicBezTo>
                <a:cubicBezTo>
                  <a:pt x="974217" y="763905"/>
                  <a:pt x="973169" y="781145"/>
                  <a:pt x="968883" y="799243"/>
                </a:cubicBezTo>
                <a:lnTo>
                  <a:pt x="960406" y="838772"/>
                </a:lnTo>
                <a:cubicBezTo>
                  <a:pt x="925163" y="1003649"/>
                  <a:pt x="785908" y="1052989"/>
                  <a:pt x="654368" y="1052989"/>
                </a:cubicBezTo>
                <a:cubicBezTo>
                  <a:pt x="579311" y="1052989"/>
                  <a:pt x="455295" y="1040035"/>
                  <a:pt x="455295" y="1017746"/>
                </a:cubicBezTo>
                <a:cubicBezTo>
                  <a:pt x="455295" y="1007936"/>
                  <a:pt x="482060" y="955453"/>
                  <a:pt x="499110" y="955453"/>
                </a:cubicBezTo>
                <a:cubicBezTo>
                  <a:pt x="544163" y="960977"/>
                  <a:pt x="590264" y="969455"/>
                  <a:pt x="644652" y="969455"/>
                </a:cubicBezTo>
                <a:cubicBezTo>
                  <a:pt x="733520" y="969455"/>
                  <a:pt x="843725" y="952214"/>
                  <a:pt x="865251" y="842201"/>
                </a:cubicBezTo>
                <a:lnTo>
                  <a:pt x="872681" y="803529"/>
                </a:lnTo>
                <a:cubicBezTo>
                  <a:pt x="874776" y="789718"/>
                  <a:pt x="876967" y="777812"/>
                  <a:pt x="876967" y="767144"/>
                </a:cubicBezTo>
                <a:cubicBezTo>
                  <a:pt x="876967" y="689991"/>
                  <a:pt x="807434" y="676180"/>
                  <a:pt x="721805" y="676180"/>
                </a:cubicBezTo>
                <a:lnTo>
                  <a:pt x="687610" y="676180"/>
                </a:lnTo>
                <a:cubicBezTo>
                  <a:pt x="678847" y="676180"/>
                  <a:pt x="675704" y="657892"/>
                  <a:pt x="675704" y="638747"/>
                </a:cubicBezTo>
                <a:cubicBezTo>
                  <a:pt x="675704" y="611981"/>
                  <a:pt x="683324" y="591598"/>
                  <a:pt x="705707" y="591598"/>
                </a:cubicBezTo>
                <a:lnTo>
                  <a:pt x="725043" y="591598"/>
                </a:lnTo>
                <a:cubicBezTo>
                  <a:pt x="824484" y="591598"/>
                  <a:pt x="912209" y="564833"/>
                  <a:pt x="928402" y="479203"/>
                </a:cubicBezTo>
                <a:lnTo>
                  <a:pt x="932688" y="456914"/>
                </a:lnTo>
                <a:cubicBezTo>
                  <a:pt x="935831" y="443960"/>
                  <a:pt x="936974" y="431197"/>
                  <a:pt x="936974" y="420338"/>
                </a:cubicBezTo>
                <a:cubicBezTo>
                  <a:pt x="936974" y="358331"/>
                  <a:pt x="888968" y="339185"/>
                  <a:pt x="786098" y="339185"/>
                </a:cubicBezTo>
                <a:cubicBezTo>
                  <a:pt x="751904" y="339185"/>
                  <a:pt x="718757" y="342424"/>
                  <a:pt x="644747" y="350901"/>
                </a:cubicBezTo>
                <a:cubicBezTo>
                  <a:pt x="634175" y="350901"/>
                  <a:pt x="628840" y="327279"/>
                  <a:pt x="628840" y="307086"/>
                </a:cubicBezTo>
                <a:cubicBezTo>
                  <a:pt x="628840" y="300514"/>
                  <a:pt x="628840" y="296228"/>
                  <a:pt x="629888" y="290894"/>
                </a:cubicBezTo>
                <a:cubicBezTo>
                  <a:pt x="635222" y="265176"/>
                  <a:pt x="750761" y="257747"/>
                  <a:pt x="826675" y="257747"/>
                </a:cubicBezTo>
                <a:cubicBezTo>
                  <a:pt x="957358" y="257747"/>
                  <a:pt x="1035558" y="289846"/>
                  <a:pt x="1035558" y="393764"/>
                </a:cubicBezTo>
                <a:cubicBezTo>
                  <a:pt x="1035558" y="410813"/>
                  <a:pt x="1033272" y="430149"/>
                  <a:pt x="1028986" y="452438"/>
                </a:cubicBezTo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2954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3">
    <p:bg>
      <p:bgPr>
        <a:solidFill>
          <a:srgbClr val="6DC4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8801FEC8-9FEC-5CC0-F7A7-04E107B83979}"/>
              </a:ext>
            </a:extLst>
          </p:cNvPr>
          <p:cNvSpPr/>
          <p:nvPr userDrawn="1"/>
        </p:nvSpPr>
        <p:spPr bwMode="gray">
          <a:xfrm>
            <a:off x="338667" y="245533"/>
            <a:ext cx="11734800" cy="796599"/>
          </a:xfrm>
          <a:prstGeom prst="rect">
            <a:avLst/>
          </a:pr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5837379-1532-9A48-BB85-CA46BB4E4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E242B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508D53B-DD54-EBF9-A009-9B3120BC11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8292968-3AFF-4F79-9D44-F10DA0A326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9F395B-6FEF-740A-DEB3-DB402C3C7F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6" name="Inhaltsplatzhalter 6">
            <a:extLst>
              <a:ext uri="{FF2B5EF4-FFF2-40B4-BE49-F238E27FC236}">
                <a16:creationId xmlns:a16="http://schemas.microsoft.com/office/drawing/2014/main" id="{F8B1565B-159E-907B-B48D-C51FA74088A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989058"/>
            <a:ext cx="5400675" cy="4248229"/>
          </a:xfrm>
        </p:spPr>
        <p:txBody>
          <a:bodyPr/>
          <a:lstStyle>
            <a:lvl1pPr>
              <a:defRPr>
                <a:solidFill>
                  <a:srgbClr val="1E242B"/>
                </a:solidFill>
              </a:defRPr>
            </a:lvl1pPr>
            <a:lvl2pPr>
              <a:defRPr>
                <a:solidFill>
                  <a:srgbClr val="1E242B"/>
                </a:solidFill>
              </a:defRPr>
            </a:lvl2pPr>
            <a:lvl3pPr>
              <a:defRPr>
                <a:solidFill>
                  <a:srgbClr val="1E242B"/>
                </a:solidFill>
              </a:defRPr>
            </a:lvl3pPr>
            <a:lvl4pPr>
              <a:defRPr>
                <a:solidFill>
                  <a:srgbClr val="1E242B"/>
                </a:solidFill>
              </a:defRPr>
            </a:lvl4pPr>
            <a:lvl5pPr>
              <a:defRPr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F06FDFF-5779-5968-A364-1FD15DDC7E2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85789" y="1989058"/>
            <a:ext cx="5400675" cy="4248230"/>
          </a:xfrm>
        </p:spPr>
        <p:txBody>
          <a:bodyPr/>
          <a:lstStyle>
            <a:lvl1pPr>
              <a:defRPr>
                <a:solidFill>
                  <a:srgbClr val="1E242B"/>
                </a:solidFill>
              </a:defRPr>
            </a:lvl1pPr>
            <a:lvl2pPr>
              <a:defRPr>
                <a:solidFill>
                  <a:srgbClr val="1E242B"/>
                </a:solidFill>
              </a:defRPr>
            </a:lvl2pPr>
            <a:lvl3pPr>
              <a:defRPr>
                <a:solidFill>
                  <a:srgbClr val="1E242B"/>
                </a:solidFill>
              </a:defRPr>
            </a:lvl3pPr>
            <a:lvl4pPr>
              <a:defRPr>
                <a:solidFill>
                  <a:srgbClr val="1E242B"/>
                </a:solidFill>
              </a:defRPr>
            </a:lvl4pPr>
            <a:lvl5pPr>
              <a:defRPr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Grafik 12">
            <a:extLst>
              <a:ext uri="{FF2B5EF4-FFF2-40B4-BE49-F238E27FC236}">
                <a16:creationId xmlns:a16="http://schemas.microsoft.com/office/drawing/2014/main" id="{A1207654-5A0A-452D-DFCA-F522CE426470}"/>
              </a:ext>
            </a:extLst>
          </p:cNvPr>
          <p:cNvSpPr/>
          <p:nvPr userDrawn="1"/>
        </p:nvSpPr>
        <p:spPr>
          <a:xfrm>
            <a:off x="11424981" y="307435"/>
            <a:ext cx="521802" cy="521881"/>
          </a:xfrm>
          <a:custGeom>
            <a:avLst/>
            <a:gdLst>
              <a:gd name="connsiteX0" fmla="*/ 629888 w 1259776"/>
              <a:gd name="connsiteY0" fmla="*/ 0 h 1259966"/>
              <a:gd name="connsiteX1" fmla="*/ 0 w 1259776"/>
              <a:gd name="connsiteY1" fmla="*/ 629888 h 1259966"/>
              <a:gd name="connsiteX2" fmla="*/ 629888 w 1259776"/>
              <a:gd name="connsiteY2" fmla="*/ 1259967 h 1259966"/>
              <a:gd name="connsiteX3" fmla="*/ 1259777 w 1259776"/>
              <a:gd name="connsiteY3" fmla="*/ 629888 h 1259966"/>
              <a:gd name="connsiteX4" fmla="*/ 629888 w 1259776"/>
              <a:gd name="connsiteY4" fmla="*/ 0 h 1259966"/>
              <a:gd name="connsiteX5" fmla="*/ 202978 w 1259776"/>
              <a:gd name="connsiteY5" fmla="*/ 552545 h 1259966"/>
              <a:gd name="connsiteX6" fmla="*/ 228505 w 1259776"/>
              <a:gd name="connsiteY6" fmla="*/ 502444 h 1259966"/>
              <a:gd name="connsiteX7" fmla="*/ 286703 w 1259776"/>
              <a:gd name="connsiteY7" fmla="*/ 502444 h 1259966"/>
              <a:gd name="connsiteX8" fmla="*/ 308134 w 1259776"/>
              <a:gd name="connsiteY8" fmla="*/ 401669 h 1259966"/>
              <a:gd name="connsiteX9" fmla="*/ 367856 w 1259776"/>
              <a:gd name="connsiteY9" fmla="*/ 388239 h 1259966"/>
              <a:gd name="connsiteX10" fmla="*/ 383762 w 1259776"/>
              <a:gd name="connsiteY10" fmla="*/ 402241 h 1259966"/>
              <a:gd name="connsiteX11" fmla="*/ 383762 w 1259776"/>
              <a:gd name="connsiteY11" fmla="*/ 405384 h 1259966"/>
              <a:gd name="connsiteX12" fmla="*/ 363379 w 1259776"/>
              <a:gd name="connsiteY12" fmla="*/ 502253 h 1259966"/>
              <a:gd name="connsiteX13" fmla="*/ 469868 w 1259776"/>
              <a:gd name="connsiteY13" fmla="*/ 502253 h 1259966"/>
              <a:gd name="connsiteX14" fmla="*/ 491300 w 1259776"/>
              <a:gd name="connsiteY14" fmla="*/ 401479 h 1259966"/>
              <a:gd name="connsiteX15" fmla="*/ 551021 w 1259776"/>
              <a:gd name="connsiteY15" fmla="*/ 388049 h 1259966"/>
              <a:gd name="connsiteX16" fmla="*/ 566928 w 1259776"/>
              <a:gd name="connsiteY16" fmla="*/ 402050 h 1259966"/>
              <a:gd name="connsiteX17" fmla="*/ 566928 w 1259776"/>
              <a:gd name="connsiteY17" fmla="*/ 405194 h 1259966"/>
              <a:gd name="connsiteX18" fmla="*/ 546545 w 1259776"/>
              <a:gd name="connsiteY18" fmla="*/ 502063 h 1259966"/>
              <a:gd name="connsiteX19" fmla="*/ 611124 w 1259776"/>
              <a:gd name="connsiteY19" fmla="*/ 502063 h 1259966"/>
              <a:gd name="connsiteX20" fmla="*/ 613029 w 1259776"/>
              <a:gd name="connsiteY20" fmla="*/ 552164 h 1259966"/>
              <a:gd name="connsiteX21" fmla="*/ 591312 w 1259776"/>
              <a:gd name="connsiteY21" fmla="*/ 571500 h 1259966"/>
              <a:gd name="connsiteX22" fmla="*/ 216408 w 1259776"/>
              <a:gd name="connsiteY22" fmla="*/ 571310 h 1259966"/>
              <a:gd name="connsiteX23" fmla="*/ 213265 w 1259776"/>
              <a:gd name="connsiteY23" fmla="*/ 570643 h 1259966"/>
              <a:gd name="connsiteX24" fmla="*/ 202883 w 1259776"/>
              <a:gd name="connsiteY24" fmla="*/ 552164 h 1259966"/>
              <a:gd name="connsiteX25" fmla="*/ 177641 w 1259776"/>
              <a:gd name="connsiteY25" fmla="*/ 747713 h 1259966"/>
              <a:gd name="connsiteX26" fmla="*/ 174403 w 1259776"/>
              <a:gd name="connsiteY26" fmla="*/ 747046 h 1259966"/>
              <a:gd name="connsiteX27" fmla="*/ 164021 w 1259776"/>
              <a:gd name="connsiteY27" fmla="*/ 728567 h 1259966"/>
              <a:gd name="connsiteX28" fmla="*/ 189548 w 1259776"/>
              <a:gd name="connsiteY28" fmla="*/ 678466 h 1259966"/>
              <a:gd name="connsiteX29" fmla="*/ 249269 w 1259776"/>
              <a:gd name="connsiteY29" fmla="*/ 678466 h 1259966"/>
              <a:gd name="connsiteX30" fmla="*/ 264795 w 1259776"/>
              <a:gd name="connsiteY30" fmla="*/ 604933 h 1259966"/>
              <a:gd name="connsiteX31" fmla="*/ 348139 w 1259776"/>
              <a:gd name="connsiteY31" fmla="*/ 574358 h 1259966"/>
              <a:gd name="connsiteX32" fmla="*/ 326041 w 1259776"/>
              <a:gd name="connsiteY32" fmla="*/ 678466 h 1259966"/>
              <a:gd name="connsiteX33" fmla="*/ 432530 w 1259776"/>
              <a:gd name="connsiteY33" fmla="*/ 678466 h 1259966"/>
              <a:gd name="connsiteX34" fmla="*/ 447580 w 1259776"/>
              <a:gd name="connsiteY34" fmla="*/ 607695 h 1259966"/>
              <a:gd name="connsiteX35" fmla="*/ 531114 w 1259776"/>
              <a:gd name="connsiteY35" fmla="*/ 574929 h 1259966"/>
              <a:gd name="connsiteX36" fmla="*/ 509207 w 1259776"/>
              <a:gd name="connsiteY36" fmla="*/ 678371 h 1259966"/>
              <a:gd name="connsiteX37" fmla="*/ 572357 w 1259776"/>
              <a:gd name="connsiteY37" fmla="*/ 678371 h 1259966"/>
              <a:gd name="connsiteX38" fmla="*/ 574262 w 1259776"/>
              <a:gd name="connsiteY38" fmla="*/ 728472 h 1259966"/>
              <a:gd name="connsiteX39" fmla="*/ 552545 w 1259776"/>
              <a:gd name="connsiteY39" fmla="*/ 747998 h 1259966"/>
              <a:gd name="connsiteX40" fmla="*/ 177737 w 1259776"/>
              <a:gd name="connsiteY40" fmla="*/ 747617 h 1259966"/>
              <a:gd name="connsiteX41" fmla="*/ 290894 w 1259776"/>
              <a:gd name="connsiteY41" fmla="*/ 843534 h 1259966"/>
              <a:gd name="connsiteX42" fmla="*/ 267272 w 1259776"/>
              <a:gd name="connsiteY42" fmla="*/ 860774 h 1259966"/>
              <a:gd name="connsiteX43" fmla="*/ 213265 w 1259776"/>
              <a:gd name="connsiteY43" fmla="*/ 847439 h 1259966"/>
              <a:gd name="connsiteX44" fmla="*/ 227552 w 1259776"/>
              <a:gd name="connsiteY44" fmla="*/ 780479 h 1259966"/>
              <a:gd name="connsiteX45" fmla="*/ 310610 w 1259776"/>
              <a:gd name="connsiteY45" fmla="*/ 750570 h 1259966"/>
              <a:gd name="connsiteX46" fmla="*/ 290894 w 1259776"/>
              <a:gd name="connsiteY46" fmla="*/ 843629 h 1259966"/>
              <a:gd name="connsiteX47" fmla="*/ 396526 w 1259776"/>
              <a:gd name="connsiteY47" fmla="*/ 847344 h 1259966"/>
              <a:gd name="connsiteX48" fmla="*/ 410147 w 1259776"/>
              <a:gd name="connsiteY48" fmla="*/ 783146 h 1259966"/>
              <a:gd name="connsiteX49" fmla="*/ 493681 w 1259776"/>
              <a:gd name="connsiteY49" fmla="*/ 751237 h 1259966"/>
              <a:gd name="connsiteX50" fmla="*/ 474155 w 1259776"/>
              <a:gd name="connsiteY50" fmla="*/ 843439 h 1259966"/>
              <a:gd name="connsiteX51" fmla="*/ 450533 w 1259776"/>
              <a:gd name="connsiteY51" fmla="*/ 860393 h 1259966"/>
              <a:gd name="connsiteX52" fmla="*/ 396526 w 1259776"/>
              <a:gd name="connsiteY52" fmla="*/ 847249 h 1259966"/>
              <a:gd name="connsiteX53" fmla="*/ 1028795 w 1259776"/>
              <a:gd name="connsiteY53" fmla="*/ 452438 h 1259966"/>
              <a:gd name="connsiteX54" fmla="*/ 1022413 w 1259776"/>
              <a:gd name="connsiteY54" fmla="*/ 483680 h 1259966"/>
              <a:gd name="connsiteX55" fmla="*/ 876872 w 1259776"/>
              <a:gd name="connsiteY55" fmla="*/ 629031 h 1259966"/>
              <a:gd name="connsiteX56" fmla="*/ 974217 w 1259776"/>
              <a:gd name="connsiteY56" fmla="*/ 748856 h 1259966"/>
              <a:gd name="connsiteX57" fmla="*/ 968883 w 1259776"/>
              <a:gd name="connsiteY57" fmla="*/ 799243 h 1259966"/>
              <a:gd name="connsiteX58" fmla="*/ 960406 w 1259776"/>
              <a:gd name="connsiteY58" fmla="*/ 838772 h 1259966"/>
              <a:gd name="connsiteX59" fmla="*/ 654368 w 1259776"/>
              <a:gd name="connsiteY59" fmla="*/ 1052989 h 1259966"/>
              <a:gd name="connsiteX60" fmla="*/ 455295 w 1259776"/>
              <a:gd name="connsiteY60" fmla="*/ 1017746 h 1259966"/>
              <a:gd name="connsiteX61" fmla="*/ 499110 w 1259776"/>
              <a:gd name="connsiteY61" fmla="*/ 955453 h 1259966"/>
              <a:gd name="connsiteX62" fmla="*/ 644652 w 1259776"/>
              <a:gd name="connsiteY62" fmla="*/ 969455 h 1259966"/>
              <a:gd name="connsiteX63" fmla="*/ 865251 w 1259776"/>
              <a:gd name="connsiteY63" fmla="*/ 842201 h 1259966"/>
              <a:gd name="connsiteX64" fmla="*/ 872681 w 1259776"/>
              <a:gd name="connsiteY64" fmla="*/ 803529 h 1259966"/>
              <a:gd name="connsiteX65" fmla="*/ 876967 w 1259776"/>
              <a:gd name="connsiteY65" fmla="*/ 767144 h 1259966"/>
              <a:gd name="connsiteX66" fmla="*/ 721805 w 1259776"/>
              <a:gd name="connsiteY66" fmla="*/ 676180 h 1259966"/>
              <a:gd name="connsiteX67" fmla="*/ 687610 w 1259776"/>
              <a:gd name="connsiteY67" fmla="*/ 676180 h 1259966"/>
              <a:gd name="connsiteX68" fmla="*/ 675704 w 1259776"/>
              <a:gd name="connsiteY68" fmla="*/ 638747 h 1259966"/>
              <a:gd name="connsiteX69" fmla="*/ 705707 w 1259776"/>
              <a:gd name="connsiteY69" fmla="*/ 591598 h 1259966"/>
              <a:gd name="connsiteX70" fmla="*/ 725043 w 1259776"/>
              <a:gd name="connsiteY70" fmla="*/ 591598 h 1259966"/>
              <a:gd name="connsiteX71" fmla="*/ 928402 w 1259776"/>
              <a:gd name="connsiteY71" fmla="*/ 479203 h 1259966"/>
              <a:gd name="connsiteX72" fmla="*/ 932688 w 1259776"/>
              <a:gd name="connsiteY72" fmla="*/ 456914 h 1259966"/>
              <a:gd name="connsiteX73" fmla="*/ 936974 w 1259776"/>
              <a:gd name="connsiteY73" fmla="*/ 420338 h 1259966"/>
              <a:gd name="connsiteX74" fmla="*/ 786098 w 1259776"/>
              <a:gd name="connsiteY74" fmla="*/ 339185 h 1259966"/>
              <a:gd name="connsiteX75" fmla="*/ 644747 w 1259776"/>
              <a:gd name="connsiteY75" fmla="*/ 350901 h 1259966"/>
              <a:gd name="connsiteX76" fmla="*/ 628840 w 1259776"/>
              <a:gd name="connsiteY76" fmla="*/ 307086 h 1259966"/>
              <a:gd name="connsiteX77" fmla="*/ 629888 w 1259776"/>
              <a:gd name="connsiteY77" fmla="*/ 290894 h 1259966"/>
              <a:gd name="connsiteX78" fmla="*/ 826675 w 1259776"/>
              <a:gd name="connsiteY78" fmla="*/ 257747 h 1259966"/>
              <a:gd name="connsiteX79" fmla="*/ 1035558 w 1259776"/>
              <a:gd name="connsiteY79" fmla="*/ 393764 h 1259966"/>
              <a:gd name="connsiteX80" fmla="*/ 1028986 w 1259776"/>
              <a:gd name="connsiteY80" fmla="*/ 452438 h 1259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1259776" h="1259966">
                <a:moveTo>
                  <a:pt x="629888" y="0"/>
                </a:moveTo>
                <a:cubicBezTo>
                  <a:pt x="282035" y="0"/>
                  <a:pt x="0" y="282035"/>
                  <a:pt x="0" y="629888"/>
                </a:cubicBezTo>
                <a:cubicBezTo>
                  <a:pt x="0" y="977741"/>
                  <a:pt x="282035" y="1259967"/>
                  <a:pt x="629888" y="1259967"/>
                </a:cubicBezTo>
                <a:cubicBezTo>
                  <a:pt x="977741" y="1259967"/>
                  <a:pt x="1259777" y="977741"/>
                  <a:pt x="1259777" y="629888"/>
                </a:cubicBezTo>
                <a:cubicBezTo>
                  <a:pt x="1259777" y="282035"/>
                  <a:pt x="977741" y="0"/>
                  <a:pt x="629888" y="0"/>
                </a:cubicBezTo>
                <a:moveTo>
                  <a:pt x="202978" y="552545"/>
                </a:moveTo>
                <a:cubicBezTo>
                  <a:pt x="206121" y="537686"/>
                  <a:pt x="217456" y="502634"/>
                  <a:pt x="228505" y="502444"/>
                </a:cubicBezTo>
                <a:lnTo>
                  <a:pt x="286703" y="502444"/>
                </a:lnTo>
                <a:lnTo>
                  <a:pt x="308134" y="401669"/>
                </a:lnTo>
                <a:cubicBezTo>
                  <a:pt x="310706" y="390811"/>
                  <a:pt x="352520" y="388239"/>
                  <a:pt x="367856" y="388239"/>
                </a:cubicBezTo>
                <a:cubicBezTo>
                  <a:pt x="377381" y="388239"/>
                  <a:pt x="383762" y="394621"/>
                  <a:pt x="383762" y="402241"/>
                </a:cubicBezTo>
                <a:lnTo>
                  <a:pt x="383762" y="405384"/>
                </a:lnTo>
                <a:lnTo>
                  <a:pt x="363379" y="502253"/>
                </a:lnTo>
                <a:lnTo>
                  <a:pt x="469868" y="502253"/>
                </a:lnTo>
                <a:lnTo>
                  <a:pt x="491300" y="401479"/>
                </a:lnTo>
                <a:cubicBezTo>
                  <a:pt x="493871" y="390620"/>
                  <a:pt x="535972" y="388049"/>
                  <a:pt x="551021" y="388049"/>
                </a:cubicBezTo>
                <a:cubicBezTo>
                  <a:pt x="560546" y="388049"/>
                  <a:pt x="566928" y="394430"/>
                  <a:pt x="566928" y="402050"/>
                </a:cubicBezTo>
                <a:lnTo>
                  <a:pt x="566928" y="405194"/>
                </a:lnTo>
                <a:lnTo>
                  <a:pt x="546545" y="502063"/>
                </a:lnTo>
                <a:lnTo>
                  <a:pt x="611124" y="502063"/>
                </a:lnTo>
                <a:cubicBezTo>
                  <a:pt x="621792" y="504158"/>
                  <a:pt x="616649" y="535400"/>
                  <a:pt x="613029" y="552164"/>
                </a:cubicBezTo>
                <a:cubicBezTo>
                  <a:pt x="610648" y="562547"/>
                  <a:pt x="601790" y="571310"/>
                  <a:pt x="591312" y="571500"/>
                </a:cubicBezTo>
                <a:lnTo>
                  <a:pt x="216408" y="571310"/>
                </a:lnTo>
                <a:cubicBezTo>
                  <a:pt x="215170" y="571119"/>
                  <a:pt x="214503" y="570929"/>
                  <a:pt x="213265" y="570643"/>
                </a:cubicBezTo>
                <a:cubicBezTo>
                  <a:pt x="205835" y="568928"/>
                  <a:pt x="200978" y="561499"/>
                  <a:pt x="202883" y="552164"/>
                </a:cubicBezTo>
                <a:moveTo>
                  <a:pt x="177641" y="747713"/>
                </a:moveTo>
                <a:cubicBezTo>
                  <a:pt x="176403" y="747522"/>
                  <a:pt x="175736" y="747236"/>
                  <a:pt x="174403" y="747046"/>
                </a:cubicBezTo>
                <a:cubicBezTo>
                  <a:pt x="166973" y="745522"/>
                  <a:pt x="162116" y="737902"/>
                  <a:pt x="164021" y="728567"/>
                </a:cubicBezTo>
                <a:cubicBezTo>
                  <a:pt x="167164" y="713708"/>
                  <a:pt x="178499" y="678656"/>
                  <a:pt x="189548" y="678466"/>
                </a:cubicBezTo>
                <a:lnTo>
                  <a:pt x="249269" y="678466"/>
                </a:lnTo>
                <a:lnTo>
                  <a:pt x="264795" y="604933"/>
                </a:lnTo>
                <a:cubicBezTo>
                  <a:pt x="289846" y="589598"/>
                  <a:pt x="317945" y="579025"/>
                  <a:pt x="348139" y="574358"/>
                </a:cubicBezTo>
                <a:lnTo>
                  <a:pt x="326041" y="678466"/>
                </a:lnTo>
                <a:lnTo>
                  <a:pt x="432530" y="678466"/>
                </a:lnTo>
                <a:lnTo>
                  <a:pt x="447580" y="607695"/>
                </a:lnTo>
                <a:cubicBezTo>
                  <a:pt x="472440" y="591503"/>
                  <a:pt x="500729" y="580263"/>
                  <a:pt x="531114" y="574929"/>
                </a:cubicBezTo>
                <a:lnTo>
                  <a:pt x="509207" y="678371"/>
                </a:lnTo>
                <a:lnTo>
                  <a:pt x="572357" y="678371"/>
                </a:lnTo>
                <a:cubicBezTo>
                  <a:pt x="583025" y="680752"/>
                  <a:pt x="577882" y="711708"/>
                  <a:pt x="574262" y="728472"/>
                </a:cubicBezTo>
                <a:cubicBezTo>
                  <a:pt x="571881" y="739140"/>
                  <a:pt x="563023" y="747617"/>
                  <a:pt x="552545" y="747998"/>
                </a:cubicBezTo>
                <a:lnTo>
                  <a:pt x="177737" y="747617"/>
                </a:lnTo>
                <a:close/>
                <a:moveTo>
                  <a:pt x="290894" y="843534"/>
                </a:moveTo>
                <a:cubicBezTo>
                  <a:pt x="288322" y="853726"/>
                  <a:pt x="278130" y="860774"/>
                  <a:pt x="267272" y="860774"/>
                </a:cubicBezTo>
                <a:cubicBezTo>
                  <a:pt x="250031" y="860774"/>
                  <a:pt x="213265" y="858203"/>
                  <a:pt x="213265" y="847439"/>
                </a:cubicBezTo>
                <a:lnTo>
                  <a:pt x="227552" y="780479"/>
                </a:lnTo>
                <a:cubicBezTo>
                  <a:pt x="252413" y="765429"/>
                  <a:pt x="280702" y="754952"/>
                  <a:pt x="310610" y="750570"/>
                </a:cubicBezTo>
                <a:lnTo>
                  <a:pt x="290894" y="843629"/>
                </a:lnTo>
                <a:close/>
                <a:moveTo>
                  <a:pt x="396526" y="847344"/>
                </a:moveTo>
                <a:lnTo>
                  <a:pt x="410147" y="783146"/>
                </a:lnTo>
                <a:cubicBezTo>
                  <a:pt x="435197" y="767239"/>
                  <a:pt x="463487" y="756380"/>
                  <a:pt x="493681" y="751237"/>
                </a:cubicBezTo>
                <a:lnTo>
                  <a:pt x="474155" y="843439"/>
                </a:lnTo>
                <a:cubicBezTo>
                  <a:pt x="471583" y="853631"/>
                  <a:pt x="461391" y="860393"/>
                  <a:pt x="450533" y="860393"/>
                </a:cubicBezTo>
                <a:cubicBezTo>
                  <a:pt x="433578" y="860393"/>
                  <a:pt x="396526" y="858107"/>
                  <a:pt x="396526" y="847249"/>
                </a:cubicBezTo>
                <a:moveTo>
                  <a:pt x="1028795" y="452438"/>
                </a:moveTo>
                <a:lnTo>
                  <a:pt x="1022413" y="483680"/>
                </a:lnTo>
                <a:cubicBezTo>
                  <a:pt x="1003078" y="574643"/>
                  <a:pt x="931450" y="614172"/>
                  <a:pt x="876872" y="629031"/>
                </a:cubicBezTo>
                <a:cubicBezTo>
                  <a:pt x="926211" y="636651"/>
                  <a:pt x="974217" y="670941"/>
                  <a:pt x="974217" y="748856"/>
                </a:cubicBezTo>
                <a:cubicBezTo>
                  <a:pt x="974217" y="763905"/>
                  <a:pt x="973169" y="781145"/>
                  <a:pt x="968883" y="799243"/>
                </a:cubicBezTo>
                <a:lnTo>
                  <a:pt x="960406" y="838772"/>
                </a:lnTo>
                <a:cubicBezTo>
                  <a:pt x="925163" y="1003649"/>
                  <a:pt x="785908" y="1052989"/>
                  <a:pt x="654368" y="1052989"/>
                </a:cubicBezTo>
                <a:cubicBezTo>
                  <a:pt x="579311" y="1052989"/>
                  <a:pt x="455295" y="1040035"/>
                  <a:pt x="455295" y="1017746"/>
                </a:cubicBezTo>
                <a:cubicBezTo>
                  <a:pt x="455295" y="1007936"/>
                  <a:pt x="482060" y="955453"/>
                  <a:pt x="499110" y="955453"/>
                </a:cubicBezTo>
                <a:cubicBezTo>
                  <a:pt x="544163" y="960977"/>
                  <a:pt x="590264" y="969455"/>
                  <a:pt x="644652" y="969455"/>
                </a:cubicBezTo>
                <a:cubicBezTo>
                  <a:pt x="733520" y="969455"/>
                  <a:pt x="843725" y="952214"/>
                  <a:pt x="865251" y="842201"/>
                </a:cubicBezTo>
                <a:lnTo>
                  <a:pt x="872681" y="803529"/>
                </a:lnTo>
                <a:cubicBezTo>
                  <a:pt x="874776" y="789718"/>
                  <a:pt x="876967" y="777812"/>
                  <a:pt x="876967" y="767144"/>
                </a:cubicBezTo>
                <a:cubicBezTo>
                  <a:pt x="876967" y="689991"/>
                  <a:pt x="807434" y="676180"/>
                  <a:pt x="721805" y="676180"/>
                </a:cubicBezTo>
                <a:lnTo>
                  <a:pt x="687610" y="676180"/>
                </a:lnTo>
                <a:cubicBezTo>
                  <a:pt x="678847" y="676180"/>
                  <a:pt x="675704" y="657892"/>
                  <a:pt x="675704" y="638747"/>
                </a:cubicBezTo>
                <a:cubicBezTo>
                  <a:pt x="675704" y="611981"/>
                  <a:pt x="683324" y="591598"/>
                  <a:pt x="705707" y="591598"/>
                </a:cubicBezTo>
                <a:lnTo>
                  <a:pt x="725043" y="591598"/>
                </a:lnTo>
                <a:cubicBezTo>
                  <a:pt x="824484" y="591598"/>
                  <a:pt x="912209" y="564833"/>
                  <a:pt x="928402" y="479203"/>
                </a:cubicBezTo>
                <a:lnTo>
                  <a:pt x="932688" y="456914"/>
                </a:lnTo>
                <a:cubicBezTo>
                  <a:pt x="935831" y="443960"/>
                  <a:pt x="936974" y="431197"/>
                  <a:pt x="936974" y="420338"/>
                </a:cubicBezTo>
                <a:cubicBezTo>
                  <a:pt x="936974" y="358331"/>
                  <a:pt x="888968" y="339185"/>
                  <a:pt x="786098" y="339185"/>
                </a:cubicBezTo>
                <a:cubicBezTo>
                  <a:pt x="751904" y="339185"/>
                  <a:pt x="718757" y="342424"/>
                  <a:pt x="644747" y="350901"/>
                </a:cubicBezTo>
                <a:cubicBezTo>
                  <a:pt x="634175" y="350901"/>
                  <a:pt x="628840" y="327279"/>
                  <a:pt x="628840" y="307086"/>
                </a:cubicBezTo>
                <a:cubicBezTo>
                  <a:pt x="628840" y="300514"/>
                  <a:pt x="628840" y="296228"/>
                  <a:pt x="629888" y="290894"/>
                </a:cubicBezTo>
                <a:cubicBezTo>
                  <a:pt x="635222" y="265176"/>
                  <a:pt x="750761" y="257747"/>
                  <a:pt x="826675" y="257747"/>
                </a:cubicBezTo>
                <a:cubicBezTo>
                  <a:pt x="957358" y="257747"/>
                  <a:pt x="1035558" y="289846"/>
                  <a:pt x="1035558" y="393764"/>
                </a:cubicBezTo>
                <a:cubicBezTo>
                  <a:pt x="1035558" y="410813"/>
                  <a:pt x="1033272" y="430149"/>
                  <a:pt x="1028986" y="452438"/>
                </a:cubicBezTo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9" name="Grafik 8" descr="Ein Bild, das Schrift, Grafiken, Typografie, Logo enthält.&#10;&#10;Automatisch generierte Beschreibung">
            <a:extLst>
              <a:ext uri="{FF2B5EF4-FFF2-40B4-BE49-F238E27FC236}">
                <a16:creationId xmlns:a16="http://schemas.microsoft.com/office/drawing/2014/main" id="{F03AAF09-0C23-0CE7-7619-5EB8FF6838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2028" y="408034"/>
            <a:ext cx="2008788" cy="402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4000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64002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A97F3ED-D1AC-5EFC-F10E-22B1DE6D37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29154"/>
          <a:stretch>
            <a:fillRect/>
          </a:stretch>
        </p:blipFill>
        <p:spPr>
          <a:xfrm rot="5400000" flipH="1">
            <a:off x="-243641" y="247496"/>
            <a:ext cx="6854150" cy="6366865"/>
          </a:xfrm>
          <a:custGeom>
            <a:avLst/>
            <a:gdLst>
              <a:gd name="connsiteX0" fmla="*/ 6854150 w 6854150"/>
              <a:gd name="connsiteY0" fmla="*/ 6366865 h 6366865"/>
              <a:gd name="connsiteX1" fmla="*/ 6854150 w 6854150"/>
              <a:gd name="connsiteY1" fmla="*/ 0 h 6366865"/>
              <a:gd name="connsiteX2" fmla="*/ 0 w 6854150"/>
              <a:gd name="connsiteY2" fmla="*/ 0 h 6366865"/>
              <a:gd name="connsiteX3" fmla="*/ 0 w 6854150"/>
              <a:gd name="connsiteY3" fmla="*/ 6366865 h 636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4150" h="6366865">
                <a:moveTo>
                  <a:pt x="6854150" y="6366865"/>
                </a:moveTo>
                <a:lnTo>
                  <a:pt x="6854150" y="0"/>
                </a:lnTo>
                <a:lnTo>
                  <a:pt x="0" y="0"/>
                </a:lnTo>
                <a:lnTo>
                  <a:pt x="0" y="6366865"/>
                </a:lnTo>
                <a:close/>
              </a:path>
            </a:pathLst>
          </a:cu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03F2CB-2E2B-D1F5-0286-64C00A5EE5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8452CB4-B2C8-43FD-1C17-142721CA2F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21248AE-7483-D357-1362-BC1A52B3E55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7" name="Textplatzhalter 25">
            <a:extLst>
              <a:ext uri="{FF2B5EF4-FFF2-40B4-BE49-F238E27FC236}">
                <a16:creationId xmlns:a16="http://schemas.microsoft.com/office/drawing/2014/main" id="{F62CCECF-F14E-A47F-633E-A9A0FB5A06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1665781"/>
            <a:ext cx="5023838" cy="1763219"/>
          </a:xfrm>
        </p:spPr>
        <p:txBody>
          <a:bodyPr>
            <a:normAutofit/>
          </a:bodyPr>
          <a:lstStyle>
            <a:lvl1pPr algn="l">
              <a:defRPr sz="6000" b="1">
                <a:solidFill>
                  <a:srgbClr val="1E242B"/>
                </a:solidFill>
                <a:latin typeface="Overpass Black" panose="00000A00000000000000" pitchFamily="2" charset="0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Textplatzhalter 25">
            <a:extLst>
              <a:ext uri="{FF2B5EF4-FFF2-40B4-BE49-F238E27FC236}">
                <a16:creationId xmlns:a16="http://schemas.microsoft.com/office/drawing/2014/main" id="{7044B4D3-56EE-609B-F6A1-7B2DA8F63A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8" y="3821395"/>
            <a:ext cx="3682999" cy="1624446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1E242B"/>
                </a:solidFill>
              </a:defRPr>
            </a:lvl1pPr>
            <a:lvl2pPr algn="l">
              <a:defRPr>
                <a:solidFill>
                  <a:srgbClr val="1E242B"/>
                </a:solidFill>
              </a:defRPr>
            </a:lvl2pPr>
            <a:lvl3pPr algn="l">
              <a:defRPr>
                <a:solidFill>
                  <a:srgbClr val="1E242B"/>
                </a:solidFill>
              </a:defRPr>
            </a:lvl3pPr>
            <a:lvl4pPr algn="l">
              <a:defRPr>
                <a:solidFill>
                  <a:srgbClr val="1E242B"/>
                </a:solidFill>
              </a:defRPr>
            </a:lvl4pPr>
            <a:lvl5pPr algn="l">
              <a:defRPr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Text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9" name="Grafik 8" descr="Ein Bild, das Schrift, Grafiken, Typografie, Logo enthält.&#10;&#10;Automatisch generierte Beschreibung">
            <a:extLst>
              <a:ext uri="{FF2B5EF4-FFF2-40B4-BE49-F238E27FC236}">
                <a16:creationId xmlns:a16="http://schemas.microsoft.com/office/drawing/2014/main" id="{502D082C-98D1-2FE6-9531-A483403ECF8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32028" y="408034"/>
            <a:ext cx="2008788" cy="402716"/>
          </a:xfrm>
          <a:prstGeom prst="rect">
            <a:avLst/>
          </a:prstGeom>
        </p:spPr>
      </p:pic>
      <p:pic>
        <p:nvPicPr>
          <p:cNvPr id="2" name="Grafik 1" descr="Telefon Silhouette">
            <a:extLst>
              <a:ext uri="{FF2B5EF4-FFF2-40B4-BE49-F238E27FC236}">
                <a16:creationId xmlns:a16="http://schemas.microsoft.com/office/drawing/2014/main" id="{977172B1-FBAC-3C1A-4367-8BC3023938F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85573" y="4232656"/>
            <a:ext cx="743288" cy="743288"/>
          </a:xfrm>
          <a:prstGeom prst="rect">
            <a:avLst/>
          </a:prstGeom>
        </p:spPr>
      </p:pic>
      <p:pic>
        <p:nvPicPr>
          <p:cNvPr id="10" name="Grafik 9" descr="Karte mit Ortsmarkierung Silhouette">
            <a:extLst>
              <a:ext uri="{FF2B5EF4-FFF2-40B4-BE49-F238E27FC236}">
                <a16:creationId xmlns:a16="http://schemas.microsoft.com/office/drawing/2014/main" id="{405B265C-A9E4-46A9-2B82-B7859158C66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85573" y="1567824"/>
            <a:ext cx="743288" cy="743288"/>
          </a:xfrm>
          <a:prstGeom prst="rect">
            <a:avLst/>
          </a:prstGeom>
        </p:spPr>
      </p:pic>
      <p:pic>
        <p:nvPicPr>
          <p:cNvPr id="11" name="Grafik 10" descr="Adressbuch Silhouette">
            <a:extLst>
              <a:ext uri="{FF2B5EF4-FFF2-40B4-BE49-F238E27FC236}">
                <a16:creationId xmlns:a16="http://schemas.microsoft.com/office/drawing/2014/main" id="{C0C4F6C2-401A-2005-6A8B-C5E2F182F4E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285573" y="2900240"/>
            <a:ext cx="743288" cy="743288"/>
          </a:xfrm>
          <a:prstGeom prst="rect">
            <a:avLst/>
          </a:prstGeom>
        </p:spPr>
      </p:pic>
      <p:pic>
        <p:nvPicPr>
          <p:cNvPr id="12" name="Grafik 11" descr="@ Silhouette">
            <a:extLst>
              <a:ext uri="{FF2B5EF4-FFF2-40B4-BE49-F238E27FC236}">
                <a16:creationId xmlns:a16="http://schemas.microsoft.com/office/drawing/2014/main" id="{D58ECD56-4226-750E-F277-A9588AAE0EC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285573" y="5565071"/>
            <a:ext cx="743288" cy="743288"/>
          </a:xfrm>
          <a:prstGeom prst="rect">
            <a:avLst/>
          </a:prstGeom>
        </p:spPr>
      </p:pic>
      <p:sp>
        <p:nvSpPr>
          <p:cNvPr id="13" name="Textplatzhalter 25">
            <a:extLst>
              <a:ext uri="{FF2B5EF4-FFF2-40B4-BE49-F238E27FC236}">
                <a16:creationId xmlns:a16="http://schemas.microsoft.com/office/drawing/2014/main" id="{8FCA2391-D238-2D77-3592-4415E36DD0A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56502" y="1665781"/>
            <a:ext cx="3519561" cy="575769"/>
          </a:xfrm>
        </p:spPr>
        <p:txBody>
          <a:bodyPr anchor="ctr">
            <a:normAutofit/>
          </a:bodyPr>
          <a:lstStyle>
            <a:lvl1pPr algn="l">
              <a:defRPr sz="2000">
                <a:solidFill>
                  <a:srgbClr val="1E242B"/>
                </a:solidFill>
                <a:latin typeface="+mj-lt"/>
              </a:defRPr>
            </a:lvl1pPr>
            <a:lvl2pPr algn="l">
              <a:defRPr>
                <a:solidFill>
                  <a:srgbClr val="1E242B"/>
                </a:solidFill>
              </a:defRPr>
            </a:lvl2pPr>
            <a:lvl3pPr algn="l">
              <a:defRPr>
                <a:solidFill>
                  <a:srgbClr val="1E242B"/>
                </a:solidFill>
              </a:defRPr>
            </a:lvl3pPr>
            <a:lvl4pPr algn="l">
              <a:defRPr>
                <a:solidFill>
                  <a:srgbClr val="1E242B"/>
                </a:solidFill>
              </a:defRPr>
            </a:lvl4pPr>
            <a:lvl5pPr algn="l">
              <a:defRPr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Text hinzufügen</a:t>
            </a:r>
          </a:p>
        </p:txBody>
      </p:sp>
      <p:sp>
        <p:nvSpPr>
          <p:cNvPr id="14" name="Textplatzhalter 25">
            <a:extLst>
              <a:ext uri="{FF2B5EF4-FFF2-40B4-BE49-F238E27FC236}">
                <a16:creationId xmlns:a16="http://schemas.microsoft.com/office/drawing/2014/main" id="{D4C11DCA-5878-6360-5A9B-6B9D080FC0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56502" y="2983999"/>
            <a:ext cx="3519561" cy="575769"/>
          </a:xfrm>
        </p:spPr>
        <p:txBody>
          <a:bodyPr anchor="ctr">
            <a:normAutofit/>
          </a:bodyPr>
          <a:lstStyle>
            <a:lvl1pPr algn="l">
              <a:defRPr sz="2000">
                <a:solidFill>
                  <a:srgbClr val="1E242B"/>
                </a:solidFill>
                <a:latin typeface="+mj-lt"/>
              </a:defRPr>
            </a:lvl1pPr>
            <a:lvl2pPr algn="l">
              <a:defRPr>
                <a:solidFill>
                  <a:srgbClr val="1E242B"/>
                </a:solidFill>
              </a:defRPr>
            </a:lvl2pPr>
            <a:lvl3pPr algn="l">
              <a:defRPr>
                <a:solidFill>
                  <a:srgbClr val="1E242B"/>
                </a:solidFill>
              </a:defRPr>
            </a:lvl3pPr>
            <a:lvl4pPr algn="l">
              <a:defRPr>
                <a:solidFill>
                  <a:srgbClr val="1E242B"/>
                </a:solidFill>
              </a:defRPr>
            </a:lvl4pPr>
            <a:lvl5pPr algn="l">
              <a:defRPr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Text hinzufügen</a:t>
            </a:r>
          </a:p>
        </p:txBody>
      </p:sp>
      <p:sp>
        <p:nvSpPr>
          <p:cNvPr id="15" name="Textplatzhalter 25">
            <a:extLst>
              <a:ext uri="{FF2B5EF4-FFF2-40B4-BE49-F238E27FC236}">
                <a16:creationId xmlns:a16="http://schemas.microsoft.com/office/drawing/2014/main" id="{658CA543-0B04-5884-EB2F-AB1CBE0E6A4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56502" y="4302217"/>
            <a:ext cx="3519561" cy="575769"/>
          </a:xfrm>
        </p:spPr>
        <p:txBody>
          <a:bodyPr anchor="ctr">
            <a:normAutofit/>
          </a:bodyPr>
          <a:lstStyle>
            <a:lvl1pPr algn="l">
              <a:defRPr sz="2000">
                <a:solidFill>
                  <a:srgbClr val="1E242B"/>
                </a:solidFill>
                <a:latin typeface="+mj-lt"/>
              </a:defRPr>
            </a:lvl1pPr>
            <a:lvl2pPr algn="l">
              <a:defRPr>
                <a:solidFill>
                  <a:srgbClr val="1E242B"/>
                </a:solidFill>
              </a:defRPr>
            </a:lvl2pPr>
            <a:lvl3pPr algn="l">
              <a:defRPr>
                <a:solidFill>
                  <a:srgbClr val="1E242B"/>
                </a:solidFill>
              </a:defRPr>
            </a:lvl3pPr>
            <a:lvl4pPr algn="l">
              <a:defRPr>
                <a:solidFill>
                  <a:srgbClr val="1E242B"/>
                </a:solidFill>
              </a:defRPr>
            </a:lvl4pPr>
            <a:lvl5pPr algn="l">
              <a:defRPr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Text hinzufügen</a:t>
            </a:r>
          </a:p>
        </p:txBody>
      </p:sp>
      <p:sp>
        <p:nvSpPr>
          <p:cNvPr id="16" name="Textplatzhalter 25">
            <a:extLst>
              <a:ext uri="{FF2B5EF4-FFF2-40B4-BE49-F238E27FC236}">
                <a16:creationId xmlns:a16="http://schemas.microsoft.com/office/drawing/2014/main" id="{FC42DE72-CFB2-EA1E-671C-89A4B953DA2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56502" y="5620435"/>
            <a:ext cx="3519561" cy="575769"/>
          </a:xfrm>
        </p:spPr>
        <p:txBody>
          <a:bodyPr anchor="ctr">
            <a:normAutofit/>
          </a:bodyPr>
          <a:lstStyle>
            <a:lvl1pPr algn="l">
              <a:defRPr sz="2000">
                <a:solidFill>
                  <a:srgbClr val="1E242B"/>
                </a:solidFill>
                <a:latin typeface="+mj-lt"/>
              </a:defRPr>
            </a:lvl1pPr>
            <a:lvl2pPr algn="l">
              <a:defRPr>
                <a:solidFill>
                  <a:srgbClr val="1E242B"/>
                </a:solidFill>
              </a:defRPr>
            </a:lvl2pPr>
            <a:lvl3pPr algn="l">
              <a:defRPr>
                <a:solidFill>
                  <a:srgbClr val="1E242B"/>
                </a:solidFill>
              </a:defRPr>
            </a:lvl3pPr>
            <a:lvl4pPr algn="l">
              <a:defRPr>
                <a:solidFill>
                  <a:srgbClr val="1E242B"/>
                </a:solidFill>
              </a:defRPr>
            </a:lvl4pPr>
            <a:lvl5pPr algn="l">
              <a:defRPr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9342671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5A8689-BA38-FAF9-8D38-BCE1FFB5E5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515938" y="1989138"/>
            <a:ext cx="5402052" cy="3963011"/>
          </a:xfrm>
          <a:custGeom>
            <a:avLst/>
            <a:gdLst>
              <a:gd name="connsiteX0" fmla="*/ 0 w 5402052"/>
              <a:gd name="connsiteY0" fmla="*/ 0 h 3963011"/>
              <a:gd name="connsiteX1" fmla="*/ 5402052 w 5402052"/>
              <a:gd name="connsiteY1" fmla="*/ 0 h 3963011"/>
              <a:gd name="connsiteX2" fmla="*/ 5402052 w 5402052"/>
              <a:gd name="connsiteY2" fmla="*/ 2912977 h 3963011"/>
              <a:gd name="connsiteX3" fmla="*/ 0 w 5402052"/>
              <a:gd name="connsiteY3" fmla="*/ 3963011 h 3963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02052" h="3963011">
                <a:moveTo>
                  <a:pt x="0" y="0"/>
                </a:moveTo>
                <a:lnTo>
                  <a:pt x="5402052" y="0"/>
                </a:lnTo>
                <a:lnTo>
                  <a:pt x="5402052" y="2912977"/>
                </a:lnTo>
                <a:lnTo>
                  <a:pt x="0" y="3963011"/>
                </a:lnTo>
                <a:close/>
              </a:path>
            </a:pathLst>
          </a:custGeom>
          <a:solidFill>
            <a:srgbClr val="D6D6D8"/>
          </a:solidFill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EFC19E2-C1A3-74ED-939A-480568997E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33E6C3-E100-9960-6FA1-52C84E22B0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E21DE81-868A-5E60-C36B-FE7BFEDFBC7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6" name="Textplatzhalter 18">
            <a:extLst>
              <a:ext uri="{FF2B5EF4-FFF2-40B4-BE49-F238E27FC236}">
                <a16:creationId xmlns:a16="http://schemas.microsoft.com/office/drawing/2014/main" id="{EA69A0AB-9B9A-1CBC-6CA3-A37E0BDD45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4012" y="1989138"/>
            <a:ext cx="5395914" cy="50006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1E242B"/>
                </a:solidFill>
                <a:latin typeface="+mj-lt"/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7" name="Titel 22">
            <a:extLst>
              <a:ext uri="{FF2B5EF4-FFF2-40B4-BE49-F238E27FC236}">
                <a16:creationId xmlns:a16="http://schemas.microsoft.com/office/drawing/2014/main" id="{56BD7A77-67D5-B1C9-3C4A-F5F0D247E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1019844"/>
            <a:ext cx="11153989" cy="796599"/>
          </a:xfrm>
        </p:spPr>
        <p:txBody>
          <a:bodyPr/>
          <a:lstStyle>
            <a:lvl1pPr>
              <a:defRPr>
                <a:solidFill>
                  <a:srgbClr val="6DC4C4"/>
                </a:solidFill>
              </a:defRPr>
            </a:lvl1pPr>
          </a:lstStyle>
          <a:p>
            <a:r>
              <a:rPr lang="de-DE"/>
              <a:t>Kontakt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56B828C9-83BF-DD0D-4EEE-9CE603AE92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4012" y="2535238"/>
            <a:ext cx="5395914" cy="50006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6DC4C4"/>
                </a:solidFill>
                <a:latin typeface="+mn-lt"/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r>
              <a:rPr lang="en-US" sz="2400" b="1" spc="25" err="1">
                <a:solidFill>
                  <a:srgbClr val="6DC4C4"/>
                </a:solidFill>
                <a:ea typeface="Source Sans Pro" panose="020B0503030403020204" pitchFamily="34" charset="0"/>
                <a:cs typeface="Lato Heavy" panose="020F0502020204030203" pitchFamily="34" charset="0"/>
              </a:rPr>
              <a:t>Beschäftigung</a:t>
            </a:r>
            <a:endParaRPr lang="en-US" sz="2400" b="1" spc="25">
              <a:solidFill>
                <a:srgbClr val="6DC4C4"/>
              </a:solidFill>
              <a:ea typeface="Source Sans Pro" panose="020B0503030403020204" pitchFamily="34" charset="0"/>
              <a:cs typeface="Lato Heavy" panose="020F0502020204030203" pitchFamily="34" charset="0"/>
            </a:endParaRPr>
          </a:p>
        </p:txBody>
      </p:sp>
      <p:sp>
        <p:nvSpPr>
          <p:cNvPr id="10" name="Textplatzhalter 18">
            <a:extLst>
              <a:ext uri="{FF2B5EF4-FFF2-40B4-BE49-F238E27FC236}">
                <a16:creationId xmlns:a16="http://schemas.microsoft.com/office/drawing/2014/main" id="{6F403D41-BAAA-CACA-84C2-F5D3702845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74012" y="3081338"/>
            <a:ext cx="5395914" cy="3155950"/>
          </a:xfrm>
        </p:spPr>
        <p:txBody>
          <a:bodyPr>
            <a:normAutofit/>
          </a:bodyPr>
          <a:lstStyle>
            <a:lvl1pPr algn="l">
              <a:defRPr sz="1400">
                <a:solidFill>
                  <a:srgbClr val="1E242B"/>
                </a:solidFill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293624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1 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B583C2F-DB52-CC43-A895-235A728A9BB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1105030" y="1989138"/>
            <a:ext cx="4254370" cy="4256699"/>
          </a:xfrm>
          <a:prstGeom prst="ellipse">
            <a:avLst/>
          </a:prstGeom>
          <a:solidFill>
            <a:srgbClr val="D6D6D8"/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8D9174E2-495B-EF3A-ABB7-9BF9231890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2780" y="6598676"/>
            <a:ext cx="632700" cy="144000"/>
          </a:xfrm>
        </p:spPr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3" name="Foliennummernplatzhalter 3">
            <a:extLst>
              <a:ext uri="{FF2B5EF4-FFF2-40B4-BE49-F238E27FC236}">
                <a16:creationId xmlns:a16="http://schemas.microsoft.com/office/drawing/2014/main" id="{099AB63E-7CD8-9B49-3B0E-DF873316C2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6442" y="6598676"/>
            <a:ext cx="280044" cy="144000"/>
          </a:xfrm>
        </p:spPr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219A6258-BBE8-20D3-8E68-884646CBB2A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495532" y="6598676"/>
            <a:ext cx="7200937" cy="144000"/>
          </a:xfrm>
        </p:spPr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C51800B-DE7C-7E80-12F5-A27EBB54B4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1016000"/>
            <a:ext cx="11166264" cy="7965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18">
            <a:extLst>
              <a:ext uri="{FF2B5EF4-FFF2-40B4-BE49-F238E27FC236}">
                <a16:creationId xmlns:a16="http://schemas.microsoft.com/office/drawing/2014/main" id="{570F1452-0ED0-7136-E644-9EC009EE5F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4012" y="1989138"/>
            <a:ext cx="5395914" cy="50006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1E242B"/>
                </a:solidFill>
                <a:latin typeface="+mj-lt"/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0" name="Textplatzhalter 18">
            <a:extLst>
              <a:ext uri="{FF2B5EF4-FFF2-40B4-BE49-F238E27FC236}">
                <a16:creationId xmlns:a16="http://schemas.microsoft.com/office/drawing/2014/main" id="{BA6C8607-0D1A-3170-FB1F-0CF3B2B43A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4012" y="2535238"/>
            <a:ext cx="5395914" cy="50006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6DC4C4"/>
                </a:solidFill>
                <a:latin typeface="+mn-lt"/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43DE589C-3BDB-E20D-CD29-22C8632022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74012" y="3081338"/>
            <a:ext cx="5395914" cy="3155950"/>
          </a:xfrm>
        </p:spPr>
        <p:txBody>
          <a:bodyPr>
            <a:normAutofit/>
          </a:bodyPr>
          <a:lstStyle>
            <a:lvl1pPr algn="l">
              <a:defRPr sz="1400">
                <a:solidFill>
                  <a:srgbClr val="1E242B"/>
                </a:solidFill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57754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ontakt 4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B583C2F-DB52-CC43-A895-235A728A9BB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895480" y="1989138"/>
            <a:ext cx="1655107" cy="1656013"/>
          </a:xfrm>
          <a:prstGeom prst="ellipse">
            <a:avLst/>
          </a:prstGeom>
          <a:solidFill>
            <a:srgbClr val="D6D6D8"/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4B6A410-36EC-A34F-9421-4ECBFEFC0BCE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895480" y="4272293"/>
            <a:ext cx="1655107" cy="1656013"/>
          </a:xfrm>
          <a:prstGeom prst="ellipse">
            <a:avLst/>
          </a:prstGeom>
          <a:solidFill>
            <a:srgbClr val="D6D6D8"/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783C106-F760-3A43-99BC-3DD66D40C8F9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6653157" y="1989138"/>
            <a:ext cx="1655107" cy="1656013"/>
          </a:xfrm>
          <a:prstGeom prst="ellipse">
            <a:avLst/>
          </a:prstGeom>
          <a:solidFill>
            <a:srgbClr val="D6D6D8"/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CEE006E-8ECF-D047-B494-AFF747C2306A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653157" y="4272293"/>
            <a:ext cx="1655107" cy="1656013"/>
          </a:xfrm>
          <a:prstGeom prst="ellipse">
            <a:avLst/>
          </a:prstGeom>
          <a:solidFill>
            <a:srgbClr val="D6D6D8"/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8D9174E2-495B-EF3A-ABB7-9BF9231890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2780" y="6598676"/>
            <a:ext cx="632700" cy="144000"/>
          </a:xfrm>
        </p:spPr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3" name="Foliennummernplatzhalter 3">
            <a:extLst>
              <a:ext uri="{FF2B5EF4-FFF2-40B4-BE49-F238E27FC236}">
                <a16:creationId xmlns:a16="http://schemas.microsoft.com/office/drawing/2014/main" id="{099AB63E-7CD8-9B49-3B0E-DF873316C2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6442" y="6598676"/>
            <a:ext cx="280044" cy="144000"/>
          </a:xfrm>
        </p:spPr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219A6258-BBE8-20D3-8E68-884646CBB2A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495532" y="6598676"/>
            <a:ext cx="7200937" cy="144000"/>
          </a:xfrm>
        </p:spPr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C51800B-DE7C-7E80-12F5-A27EBB54B4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1016000"/>
            <a:ext cx="11166264" cy="7965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Textplatzhalter 18">
            <a:extLst>
              <a:ext uri="{FF2B5EF4-FFF2-40B4-BE49-F238E27FC236}">
                <a16:creationId xmlns:a16="http://schemas.microsoft.com/office/drawing/2014/main" id="{9D8A0CA9-C38D-8CD0-36A2-CB55CB4D16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37075" y="1989138"/>
            <a:ext cx="3079538" cy="328612"/>
          </a:xfrm>
        </p:spPr>
        <p:txBody>
          <a:bodyPr>
            <a:normAutofit/>
          </a:bodyPr>
          <a:lstStyle>
            <a:lvl1pPr algn="l">
              <a:defRPr sz="2000">
                <a:solidFill>
                  <a:srgbClr val="1E242B"/>
                </a:solidFill>
                <a:latin typeface="+mj-lt"/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0" name="Textplatzhalter 18">
            <a:extLst>
              <a:ext uri="{FF2B5EF4-FFF2-40B4-BE49-F238E27FC236}">
                <a16:creationId xmlns:a16="http://schemas.microsoft.com/office/drawing/2014/main" id="{DDD4F69D-6CEB-F3B2-5E66-CAECD1718F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37075" y="2760663"/>
            <a:ext cx="3079538" cy="884487"/>
          </a:xfrm>
        </p:spPr>
        <p:txBody>
          <a:bodyPr>
            <a:normAutofit/>
          </a:bodyPr>
          <a:lstStyle>
            <a:lvl1pPr algn="l">
              <a:defRPr sz="1400">
                <a:solidFill>
                  <a:srgbClr val="1E242B"/>
                </a:solidFill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DB60386A-9ED6-CC6E-6349-A0DD88C7278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37075" y="2370932"/>
            <a:ext cx="3079538" cy="328612"/>
          </a:xfrm>
        </p:spPr>
        <p:txBody>
          <a:bodyPr>
            <a:normAutofit/>
          </a:bodyPr>
          <a:lstStyle>
            <a:lvl1pPr algn="l">
              <a:defRPr sz="1800">
                <a:solidFill>
                  <a:srgbClr val="6DC4C4"/>
                </a:solidFill>
                <a:latin typeface="+mn-lt"/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Beschäftigung</a:t>
            </a:r>
          </a:p>
        </p:txBody>
      </p:sp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D85B3408-61D1-D389-DEBF-B59374380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96525" y="1989138"/>
            <a:ext cx="3079538" cy="328612"/>
          </a:xfrm>
        </p:spPr>
        <p:txBody>
          <a:bodyPr>
            <a:normAutofit/>
          </a:bodyPr>
          <a:lstStyle>
            <a:lvl1pPr algn="l">
              <a:defRPr sz="2000">
                <a:solidFill>
                  <a:srgbClr val="1E242B"/>
                </a:solidFill>
                <a:latin typeface="+mj-lt"/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C7242348-DDA0-A5EA-54C4-DC880E4548A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596525" y="2760663"/>
            <a:ext cx="3079538" cy="884487"/>
          </a:xfrm>
        </p:spPr>
        <p:txBody>
          <a:bodyPr>
            <a:normAutofit/>
          </a:bodyPr>
          <a:lstStyle>
            <a:lvl1pPr algn="l">
              <a:defRPr sz="1400">
                <a:solidFill>
                  <a:srgbClr val="1E242B"/>
                </a:solidFill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7CA0D6D2-715D-4677-918F-CE782D92A8C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596525" y="2370932"/>
            <a:ext cx="3079538" cy="328612"/>
          </a:xfrm>
        </p:spPr>
        <p:txBody>
          <a:bodyPr>
            <a:normAutofit/>
          </a:bodyPr>
          <a:lstStyle>
            <a:lvl1pPr algn="l">
              <a:defRPr sz="1800">
                <a:solidFill>
                  <a:srgbClr val="6DC4C4"/>
                </a:solidFill>
                <a:latin typeface="+mn-lt"/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Beschäftigung</a:t>
            </a:r>
          </a:p>
        </p:txBody>
      </p:sp>
      <p:sp>
        <p:nvSpPr>
          <p:cNvPr id="17" name="Textplatzhalter 18">
            <a:extLst>
              <a:ext uri="{FF2B5EF4-FFF2-40B4-BE49-F238E27FC236}">
                <a16:creationId xmlns:a16="http://schemas.microsoft.com/office/drawing/2014/main" id="{1BF64008-F830-4F2C-CA34-D8B57FD6AC1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837075" y="4307583"/>
            <a:ext cx="3079538" cy="328612"/>
          </a:xfrm>
        </p:spPr>
        <p:txBody>
          <a:bodyPr>
            <a:normAutofit/>
          </a:bodyPr>
          <a:lstStyle>
            <a:lvl1pPr algn="l">
              <a:defRPr sz="2000">
                <a:solidFill>
                  <a:srgbClr val="1E242B"/>
                </a:solidFill>
                <a:latin typeface="+mj-lt"/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8" name="Textplatzhalter 18">
            <a:extLst>
              <a:ext uri="{FF2B5EF4-FFF2-40B4-BE49-F238E27FC236}">
                <a16:creationId xmlns:a16="http://schemas.microsoft.com/office/drawing/2014/main" id="{B4157035-E9FE-CC99-4A53-62D01036950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837075" y="5079108"/>
            <a:ext cx="3079538" cy="884487"/>
          </a:xfrm>
        </p:spPr>
        <p:txBody>
          <a:bodyPr>
            <a:normAutofit/>
          </a:bodyPr>
          <a:lstStyle>
            <a:lvl1pPr algn="l">
              <a:defRPr sz="1400">
                <a:solidFill>
                  <a:srgbClr val="1E242B"/>
                </a:solidFill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37309B3-DE16-6DE9-F5CC-FAA8A2BB0F2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837075" y="4689377"/>
            <a:ext cx="3079538" cy="328612"/>
          </a:xfrm>
        </p:spPr>
        <p:txBody>
          <a:bodyPr>
            <a:normAutofit/>
          </a:bodyPr>
          <a:lstStyle>
            <a:lvl1pPr algn="l">
              <a:defRPr sz="1800">
                <a:solidFill>
                  <a:srgbClr val="6DC4C4"/>
                </a:solidFill>
                <a:latin typeface="+mn-lt"/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Beschäftigung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D922EC63-C196-1680-F926-7735B60B941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596525" y="4307583"/>
            <a:ext cx="3079538" cy="328612"/>
          </a:xfrm>
        </p:spPr>
        <p:txBody>
          <a:bodyPr>
            <a:normAutofit/>
          </a:bodyPr>
          <a:lstStyle>
            <a:lvl1pPr algn="l">
              <a:defRPr sz="2000">
                <a:solidFill>
                  <a:srgbClr val="1E242B"/>
                </a:solidFill>
                <a:latin typeface="+mj-lt"/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0BE0456-4C38-C3D3-DA55-51C14F18A05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596525" y="5079108"/>
            <a:ext cx="3079538" cy="884487"/>
          </a:xfrm>
        </p:spPr>
        <p:txBody>
          <a:bodyPr>
            <a:normAutofit/>
          </a:bodyPr>
          <a:lstStyle>
            <a:lvl1pPr algn="l">
              <a:defRPr sz="1400">
                <a:solidFill>
                  <a:srgbClr val="1E242B"/>
                </a:solidFill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5A178FE1-ACF1-CB44-03F9-83AF9610868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596525" y="4689377"/>
            <a:ext cx="3079538" cy="328612"/>
          </a:xfrm>
        </p:spPr>
        <p:txBody>
          <a:bodyPr>
            <a:normAutofit/>
          </a:bodyPr>
          <a:lstStyle>
            <a:lvl1pPr algn="l">
              <a:defRPr sz="1800">
                <a:solidFill>
                  <a:srgbClr val="6DC4C4"/>
                </a:solidFill>
                <a:latin typeface="+mn-lt"/>
              </a:defRPr>
            </a:lvl1pPr>
            <a:lvl2pPr algn="l">
              <a:defRPr sz="1400">
                <a:solidFill>
                  <a:srgbClr val="1E242B"/>
                </a:solidFill>
              </a:defRPr>
            </a:lvl2pPr>
            <a:lvl3pPr algn="l">
              <a:defRPr sz="1400">
                <a:solidFill>
                  <a:srgbClr val="1E242B"/>
                </a:solidFill>
              </a:defRPr>
            </a:lvl3pPr>
            <a:lvl4pPr algn="l">
              <a:defRPr sz="1200">
                <a:solidFill>
                  <a:srgbClr val="1E242B"/>
                </a:solidFill>
              </a:defRPr>
            </a:lvl4pPr>
            <a:lvl5pPr algn="l">
              <a:defRPr sz="12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Beschäftigung</a:t>
            </a:r>
          </a:p>
        </p:txBody>
      </p:sp>
    </p:spTree>
    <p:extLst>
      <p:ext uri="{BB962C8B-B14F-4D97-AF65-F5344CB8AC3E}">
        <p14:creationId xmlns:p14="http://schemas.microsoft.com/office/powerpoint/2010/main" val="19552140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DC3F231A-AE27-8FD0-4113-8810359569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1244112"/>
            <a:ext cx="12192000" cy="4993176"/>
          </a:xfrm>
          <a:prstGeom prst="rect">
            <a:avLst/>
          </a:prstGeom>
          <a:solidFill>
            <a:srgbClr val="D6D6D8"/>
          </a:solidFill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endParaRPr lang="de-DE"/>
          </a:p>
          <a:p>
            <a:endParaRPr lang="de-DE"/>
          </a:p>
        </p:txBody>
      </p:sp>
      <p:sp>
        <p:nvSpPr>
          <p:cNvPr id="24" name="Titelplatzhalter 1">
            <a:extLst>
              <a:ext uri="{FF2B5EF4-FFF2-40B4-BE49-F238E27FC236}">
                <a16:creationId xmlns:a16="http://schemas.microsoft.com/office/drawing/2014/main" id="{BCD1126D-31C2-A986-0516-F008586371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078038" y="2902448"/>
            <a:ext cx="7467600" cy="69373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all" baseline="0">
                <a:solidFill>
                  <a:srgbClr val="1E242B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endParaRPr lang="de-DE"/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4ACC857D-D4EF-4ACC-D8D2-280D1EC091D2}"/>
              </a:ext>
            </a:extLst>
          </p:cNvPr>
          <p:cNvSpPr/>
          <p:nvPr userDrawn="1"/>
        </p:nvSpPr>
        <p:spPr bwMode="gray">
          <a:xfrm>
            <a:off x="0" y="5164535"/>
            <a:ext cx="8615363" cy="1085978"/>
          </a:xfrm>
          <a:custGeom>
            <a:avLst/>
            <a:gdLst>
              <a:gd name="connsiteX0" fmla="*/ 0 w 8615363"/>
              <a:gd name="connsiteY0" fmla="*/ 0 h 1085978"/>
              <a:gd name="connsiteX1" fmla="*/ 100013 w 8615363"/>
              <a:gd name="connsiteY1" fmla="*/ 0 h 1085978"/>
              <a:gd name="connsiteX2" fmla="*/ 173620 w 8615363"/>
              <a:gd name="connsiteY2" fmla="*/ 0 h 1085978"/>
              <a:gd name="connsiteX3" fmla="*/ 8615363 w 8615363"/>
              <a:gd name="connsiteY3" fmla="*/ 0 h 1085978"/>
              <a:gd name="connsiteX4" fmla="*/ 8361960 w 8615363"/>
              <a:gd name="connsiteY4" fmla="*/ 1080081 h 1085978"/>
              <a:gd name="connsiteX5" fmla="*/ 173620 w 8615363"/>
              <a:gd name="connsiteY5" fmla="*/ 1085926 h 1085978"/>
              <a:gd name="connsiteX6" fmla="*/ 173620 w 8615363"/>
              <a:gd name="connsiteY6" fmla="*/ 1085978 h 1085978"/>
              <a:gd name="connsiteX7" fmla="*/ 100013 w 8615363"/>
              <a:gd name="connsiteY7" fmla="*/ 1085978 h 1085978"/>
              <a:gd name="connsiteX8" fmla="*/ 0 w 8615363"/>
              <a:gd name="connsiteY8" fmla="*/ 1085978 h 1085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15363" h="1085978">
                <a:moveTo>
                  <a:pt x="0" y="0"/>
                </a:moveTo>
                <a:lnTo>
                  <a:pt x="100013" y="0"/>
                </a:lnTo>
                <a:lnTo>
                  <a:pt x="173620" y="0"/>
                </a:lnTo>
                <a:lnTo>
                  <a:pt x="8615363" y="0"/>
                </a:lnTo>
                <a:lnTo>
                  <a:pt x="8361960" y="1080081"/>
                </a:lnTo>
                <a:lnTo>
                  <a:pt x="173620" y="1085926"/>
                </a:lnTo>
                <a:lnTo>
                  <a:pt x="173620" y="1085978"/>
                </a:lnTo>
                <a:lnTo>
                  <a:pt x="100013" y="1085978"/>
                </a:lnTo>
                <a:lnTo>
                  <a:pt x="0" y="1085978"/>
                </a:lnTo>
                <a:close/>
              </a:path>
            </a:pathLst>
          </a:cu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err="1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7F283C9C-98AC-3FD1-54D6-76CD5FD865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5284998"/>
            <a:ext cx="7467600" cy="466832"/>
          </a:xfrm>
        </p:spPr>
        <p:txBody>
          <a:bodyPr anchor="b">
            <a:normAutofit/>
          </a:bodyPr>
          <a:lstStyle>
            <a:lvl1pPr>
              <a:defRPr sz="2800" b="1">
                <a:solidFill>
                  <a:schemeClr val="bg1"/>
                </a:solidFill>
                <a:latin typeface="Overpass Black" panose="00000A00000000000000" pitchFamily="2" charset="0"/>
              </a:defRPr>
            </a:lvl1pPr>
          </a:lstStyle>
          <a:p>
            <a:pPr lvl="0"/>
            <a:endParaRPr lang="de-DE"/>
          </a:p>
        </p:txBody>
      </p:sp>
      <p:sp>
        <p:nvSpPr>
          <p:cNvPr id="27" name="Datumsplatzhalter 2">
            <a:extLst>
              <a:ext uri="{FF2B5EF4-FFF2-40B4-BE49-F238E27FC236}">
                <a16:creationId xmlns:a16="http://schemas.microsoft.com/office/drawing/2014/main" id="{9D5B76BF-8B69-92CD-68FD-EEBD900342E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2780" y="6598676"/>
            <a:ext cx="632700" cy="144000"/>
          </a:xfrm>
        </p:spPr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28" name="Foliennummernplatzhalter 3">
            <a:extLst>
              <a:ext uri="{FF2B5EF4-FFF2-40B4-BE49-F238E27FC236}">
                <a16:creationId xmlns:a16="http://schemas.microsoft.com/office/drawing/2014/main" id="{FC09CBAB-E1A7-F17D-8A89-6A70BF33E4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6442" y="6598676"/>
            <a:ext cx="280044" cy="144000"/>
          </a:xfrm>
        </p:spPr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3CF149C7-C890-FF45-E8C6-52E21E9EF50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495532" y="6598676"/>
            <a:ext cx="7200937" cy="144000"/>
          </a:xfrm>
        </p:spPr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605C78E6-5E12-6276-A679-B1B584D39E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5840730"/>
            <a:ext cx="7467600" cy="29845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31111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1916356-DAC7-F822-A8EC-194B02DCE1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33423E6-1BC0-A291-DF13-9E5AFF56E8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F3D477-7BA5-1C34-B212-FB539C2FF3F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B3BD2D6-90B6-CF3C-08DC-F47B0B40F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970292"/>
            <a:ext cx="11166264" cy="480783"/>
          </a:xfrm>
        </p:spPr>
        <p:txBody>
          <a:bodyPr/>
          <a:lstStyle/>
          <a:p>
            <a:endParaRPr lang="de-DE"/>
          </a:p>
        </p:txBody>
      </p:sp>
      <p:sp>
        <p:nvSpPr>
          <p:cNvPr id="2" name="Grafik 16">
            <a:extLst>
              <a:ext uri="{FF2B5EF4-FFF2-40B4-BE49-F238E27FC236}">
                <a16:creationId xmlns:a16="http://schemas.microsoft.com/office/drawing/2014/main" id="{AD3EEF5A-8B78-0C1F-C9CE-E3DA2EE68A28}"/>
              </a:ext>
            </a:extLst>
          </p:cNvPr>
          <p:cNvSpPr/>
          <p:nvPr userDrawn="1"/>
        </p:nvSpPr>
        <p:spPr>
          <a:xfrm>
            <a:off x="430530" y="1568789"/>
            <a:ext cx="1881445" cy="4811093"/>
          </a:xfrm>
          <a:custGeom>
            <a:avLst/>
            <a:gdLst>
              <a:gd name="connsiteX0" fmla="*/ 946239 w 1881445"/>
              <a:gd name="connsiteY0" fmla="*/ 4811093 h 4811093"/>
              <a:gd name="connsiteX1" fmla="*/ 0 w 1881445"/>
              <a:gd name="connsiteY1" fmla="*/ 4811093 h 4811093"/>
              <a:gd name="connsiteX2" fmla="*/ 935207 w 1881445"/>
              <a:gd name="connsiteY2" fmla="*/ 0 h 4811093"/>
              <a:gd name="connsiteX3" fmla="*/ 1881446 w 1881445"/>
              <a:gd name="connsiteY3" fmla="*/ 0 h 4811093"/>
              <a:gd name="connsiteX4" fmla="*/ 946239 w 1881445"/>
              <a:gd name="connsiteY4" fmla="*/ 4811093 h 4811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81445" h="4811093">
                <a:moveTo>
                  <a:pt x="946239" y="4811093"/>
                </a:moveTo>
                <a:lnTo>
                  <a:pt x="0" y="4811093"/>
                </a:lnTo>
                <a:lnTo>
                  <a:pt x="935207" y="0"/>
                </a:lnTo>
                <a:lnTo>
                  <a:pt x="1881446" y="0"/>
                </a:lnTo>
                <a:lnTo>
                  <a:pt x="946239" y="4811093"/>
                </a:lnTo>
                <a:close/>
              </a:path>
            </a:pathLst>
          </a:custGeom>
          <a:solidFill>
            <a:srgbClr val="6DC4C4"/>
          </a:solidFill>
          <a:ln w="834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51" name="Textplatzhalter 50">
            <a:extLst>
              <a:ext uri="{FF2B5EF4-FFF2-40B4-BE49-F238E27FC236}">
                <a16:creationId xmlns:a16="http://schemas.microsoft.com/office/drawing/2014/main" id="{9E9759CF-B1E1-170B-EC42-F7A1BC469E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35540" y="1623698"/>
            <a:ext cx="3208255" cy="236008"/>
          </a:xfr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de-DE"/>
              <a:t>Titel Agenda</a:t>
            </a:r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49B60052-1AC6-BCAC-979B-816FFA8248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35540" y="1898970"/>
            <a:ext cx="3208255" cy="41592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4" name="Textplatzhalter 50">
            <a:extLst>
              <a:ext uri="{FF2B5EF4-FFF2-40B4-BE49-F238E27FC236}">
                <a16:creationId xmlns:a16="http://schemas.microsoft.com/office/drawing/2014/main" id="{ADB8F180-3917-9E48-14B1-1F638F8A7D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45040" y="2658290"/>
            <a:ext cx="3208255" cy="236008"/>
          </a:xfr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de-DE"/>
              <a:t>Titel Agenda</a:t>
            </a:r>
          </a:p>
        </p:txBody>
      </p:sp>
      <p:sp>
        <p:nvSpPr>
          <p:cNvPr id="55" name="Textplatzhalter 52">
            <a:extLst>
              <a:ext uri="{FF2B5EF4-FFF2-40B4-BE49-F238E27FC236}">
                <a16:creationId xmlns:a16="http://schemas.microsoft.com/office/drawing/2014/main" id="{A0CC93F9-763F-A1C5-0E63-121C4C7411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45040" y="2933562"/>
            <a:ext cx="3208255" cy="41592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8" name="Textplatzhalter 50">
            <a:extLst>
              <a:ext uri="{FF2B5EF4-FFF2-40B4-BE49-F238E27FC236}">
                <a16:creationId xmlns:a16="http://schemas.microsoft.com/office/drawing/2014/main" id="{50BAD1A4-D4CD-764B-83DF-9446A8C3CA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32433" y="3681185"/>
            <a:ext cx="3208255" cy="236008"/>
          </a:xfr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de-DE"/>
              <a:t>Titel Agenda</a:t>
            </a:r>
          </a:p>
        </p:txBody>
      </p:sp>
      <p:sp>
        <p:nvSpPr>
          <p:cNvPr id="59" name="Textplatzhalter 52">
            <a:extLst>
              <a:ext uri="{FF2B5EF4-FFF2-40B4-BE49-F238E27FC236}">
                <a16:creationId xmlns:a16="http://schemas.microsoft.com/office/drawing/2014/main" id="{F8A63112-0E3C-A239-8D57-56F5469300F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032433" y="3956457"/>
            <a:ext cx="3208255" cy="41592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2" name="Textplatzhalter 50">
            <a:extLst>
              <a:ext uri="{FF2B5EF4-FFF2-40B4-BE49-F238E27FC236}">
                <a16:creationId xmlns:a16="http://schemas.microsoft.com/office/drawing/2014/main" id="{30F9ADDA-28C2-F4E5-0292-8103A961DFF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31102" y="4730869"/>
            <a:ext cx="3208255" cy="236008"/>
          </a:xfr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de-DE"/>
              <a:t>Titel Agenda</a:t>
            </a:r>
          </a:p>
        </p:txBody>
      </p:sp>
      <p:sp>
        <p:nvSpPr>
          <p:cNvPr id="63" name="Textplatzhalter 52">
            <a:extLst>
              <a:ext uri="{FF2B5EF4-FFF2-40B4-BE49-F238E27FC236}">
                <a16:creationId xmlns:a16="http://schemas.microsoft.com/office/drawing/2014/main" id="{F2AB3237-22DB-29D6-567F-08E04522519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831102" y="5006141"/>
            <a:ext cx="3208255" cy="41592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6" name="Textplatzhalter 50">
            <a:extLst>
              <a:ext uri="{FF2B5EF4-FFF2-40B4-BE49-F238E27FC236}">
                <a16:creationId xmlns:a16="http://schemas.microsoft.com/office/drawing/2014/main" id="{0A053C01-DFA9-D251-128D-D98A624FA91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59132" y="5708050"/>
            <a:ext cx="3208255" cy="236008"/>
          </a:xfr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de-DE"/>
              <a:t>Titel Agenda</a:t>
            </a:r>
          </a:p>
        </p:txBody>
      </p:sp>
      <p:sp>
        <p:nvSpPr>
          <p:cNvPr id="67" name="Textplatzhalter 52">
            <a:extLst>
              <a:ext uri="{FF2B5EF4-FFF2-40B4-BE49-F238E27FC236}">
                <a16:creationId xmlns:a16="http://schemas.microsoft.com/office/drawing/2014/main" id="{D0F20FAB-A03E-BBA5-3A20-4A2BD9C3FE7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659132" y="5983322"/>
            <a:ext cx="3208255" cy="41592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0" name="Grafik 16">
            <a:extLst>
              <a:ext uri="{FF2B5EF4-FFF2-40B4-BE49-F238E27FC236}">
                <a16:creationId xmlns:a16="http://schemas.microsoft.com/office/drawing/2014/main" id="{D4F23366-2974-2284-4D08-D3B4EA5E77DE}"/>
              </a:ext>
            </a:extLst>
          </p:cNvPr>
          <p:cNvSpPr/>
          <p:nvPr userDrawn="1"/>
        </p:nvSpPr>
        <p:spPr>
          <a:xfrm>
            <a:off x="6462798" y="1573869"/>
            <a:ext cx="1881445" cy="4811093"/>
          </a:xfrm>
          <a:custGeom>
            <a:avLst/>
            <a:gdLst>
              <a:gd name="connsiteX0" fmla="*/ 946239 w 1881445"/>
              <a:gd name="connsiteY0" fmla="*/ 4811093 h 4811093"/>
              <a:gd name="connsiteX1" fmla="*/ 0 w 1881445"/>
              <a:gd name="connsiteY1" fmla="*/ 4811093 h 4811093"/>
              <a:gd name="connsiteX2" fmla="*/ 935207 w 1881445"/>
              <a:gd name="connsiteY2" fmla="*/ 0 h 4811093"/>
              <a:gd name="connsiteX3" fmla="*/ 1881446 w 1881445"/>
              <a:gd name="connsiteY3" fmla="*/ 0 h 4811093"/>
              <a:gd name="connsiteX4" fmla="*/ 946239 w 1881445"/>
              <a:gd name="connsiteY4" fmla="*/ 4811093 h 4811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81445" h="4811093">
                <a:moveTo>
                  <a:pt x="946239" y="4811093"/>
                </a:moveTo>
                <a:lnTo>
                  <a:pt x="0" y="4811093"/>
                </a:lnTo>
                <a:lnTo>
                  <a:pt x="935207" y="0"/>
                </a:lnTo>
                <a:lnTo>
                  <a:pt x="1881446" y="0"/>
                </a:lnTo>
                <a:lnTo>
                  <a:pt x="946239" y="4811093"/>
                </a:lnTo>
                <a:close/>
              </a:path>
            </a:pathLst>
          </a:custGeom>
          <a:solidFill>
            <a:srgbClr val="6DC4C4"/>
          </a:solidFill>
          <a:ln w="834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1" name="Textplatzhalter 50">
            <a:extLst>
              <a:ext uri="{FF2B5EF4-FFF2-40B4-BE49-F238E27FC236}">
                <a16:creationId xmlns:a16="http://schemas.microsoft.com/office/drawing/2014/main" id="{A0861FAB-EB11-1959-6BE1-F42237AC28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467808" y="1628778"/>
            <a:ext cx="3208255" cy="236008"/>
          </a:xfr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de-DE"/>
              <a:t>Titel Agenda</a:t>
            </a:r>
          </a:p>
        </p:txBody>
      </p:sp>
      <p:sp>
        <p:nvSpPr>
          <p:cNvPr id="82" name="Textplatzhalter 52">
            <a:extLst>
              <a:ext uri="{FF2B5EF4-FFF2-40B4-BE49-F238E27FC236}">
                <a16:creationId xmlns:a16="http://schemas.microsoft.com/office/drawing/2014/main" id="{F22FE726-EB1B-2453-AAA8-208067A233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467808" y="1904050"/>
            <a:ext cx="3208255" cy="41592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3" name="Textplatzhalter 50">
            <a:extLst>
              <a:ext uri="{FF2B5EF4-FFF2-40B4-BE49-F238E27FC236}">
                <a16:creationId xmlns:a16="http://schemas.microsoft.com/office/drawing/2014/main" id="{8F4E8ED0-285F-B7F8-E5CA-3E734C09EF8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7308" y="2663370"/>
            <a:ext cx="3208255" cy="236008"/>
          </a:xfr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de-DE"/>
              <a:t>Titel Agenda</a:t>
            </a:r>
          </a:p>
        </p:txBody>
      </p:sp>
      <p:sp>
        <p:nvSpPr>
          <p:cNvPr id="84" name="Textplatzhalter 52">
            <a:extLst>
              <a:ext uri="{FF2B5EF4-FFF2-40B4-BE49-F238E27FC236}">
                <a16:creationId xmlns:a16="http://schemas.microsoft.com/office/drawing/2014/main" id="{20564F04-6184-6EA5-F22E-DEE30EF3CE8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77308" y="2938642"/>
            <a:ext cx="3208255" cy="41592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5" name="Textplatzhalter 50">
            <a:extLst>
              <a:ext uri="{FF2B5EF4-FFF2-40B4-BE49-F238E27FC236}">
                <a16:creationId xmlns:a16="http://schemas.microsoft.com/office/drawing/2014/main" id="{09338EE1-AE22-2153-EC48-7CCC9C0AB32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64701" y="3686265"/>
            <a:ext cx="3208255" cy="236008"/>
          </a:xfr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de-DE"/>
              <a:t>Titel Agenda</a:t>
            </a:r>
          </a:p>
        </p:txBody>
      </p:sp>
      <p:sp>
        <p:nvSpPr>
          <p:cNvPr id="86" name="Textplatzhalter 52">
            <a:extLst>
              <a:ext uri="{FF2B5EF4-FFF2-40B4-BE49-F238E27FC236}">
                <a16:creationId xmlns:a16="http://schemas.microsoft.com/office/drawing/2014/main" id="{7E8B2F3F-39F9-A0E5-5BB7-4CCD7C0AB2A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64701" y="3961537"/>
            <a:ext cx="3208255" cy="41592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7" name="Textplatzhalter 50">
            <a:extLst>
              <a:ext uri="{FF2B5EF4-FFF2-40B4-BE49-F238E27FC236}">
                <a16:creationId xmlns:a16="http://schemas.microsoft.com/office/drawing/2014/main" id="{6A4DCE5A-C1ED-FB67-2951-19D5599974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863370" y="4735949"/>
            <a:ext cx="3208255" cy="236008"/>
          </a:xfr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de-DE"/>
              <a:t>Titel Agenda</a:t>
            </a:r>
          </a:p>
        </p:txBody>
      </p:sp>
      <p:sp>
        <p:nvSpPr>
          <p:cNvPr id="88" name="Textplatzhalter 52">
            <a:extLst>
              <a:ext uri="{FF2B5EF4-FFF2-40B4-BE49-F238E27FC236}">
                <a16:creationId xmlns:a16="http://schemas.microsoft.com/office/drawing/2014/main" id="{6D2D1CB4-5A7C-8430-8C2F-986FF44C054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863370" y="5011221"/>
            <a:ext cx="3208255" cy="41592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9" name="Textplatzhalter 50">
            <a:extLst>
              <a:ext uri="{FF2B5EF4-FFF2-40B4-BE49-F238E27FC236}">
                <a16:creationId xmlns:a16="http://schemas.microsoft.com/office/drawing/2014/main" id="{DFBCBF8F-0130-F6C9-339E-165A7CE1BCB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91400" y="5713130"/>
            <a:ext cx="3208255" cy="236008"/>
          </a:xfr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de-DE"/>
              <a:t>Titel Agenda</a:t>
            </a:r>
          </a:p>
        </p:txBody>
      </p:sp>
      <p:sp>
        <p:nvSpPr>
          <p:cNvPr id="90" name="Textplatzhalter 52">
            <a:extLst>
              <a:ext uri="{FF2B5EF4-FFF2-40B4-BE49-F238E27FC236}">
                <a16:creationId xmlns:a16="http://schemas.microsoft.com/office/drawing/2014/main" id="{E9950882-3FD1-8568-69D5-9CE4CA1D4E4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91400" y="5988402"/>
            <a:ext cx="3208255" cy="41592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C3A37124-A782-DE5A-0502-10E2E535B34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58349" y="1684517"/>
            <a:ext cx="605154" cy="654050"/>
          </a:xfrm>
        </p:spPr>
        <p:txBody>
          <a:bodyPr/>
          <a:lstStyle>
            <a:lvl1pPr algn="ctr">
              <a:defRPr sz="4400" b="1">
                <a:solidFill>
                  <a:srgbClr val="D6D6D8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8C32E210-DA1B-2B90-F013-A58F92B1EC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68767" y="2683812"/>
            <a:ext cx="729105" cy="654050"/>
          </a:xfrm>
        </p:spPr>
        <p:txBody>
          <a:bodyPr/>
          <a:lstStyle>
            <a:lvl1pPr algn="ctr">
              <a:defRPr sz="4400" b="1">
                <a:solidFill>
                  <a:srgbClr val="D6D6D8"/>
                </a:solidFill>
                <a:latin typeface="+mj-lt"/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75E2A0D3-837C-BEE7-5C6E-259233B9F17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43654" y="3683107"/>
            <a:ext cx="729104" cy="654050"/>
          </a:xfrm>
        </p:spPr>
        <p:txBody>
          <a:bodyPr/>
          <a:lstStyle>
            <a:lvl1pPr algn="ctr">
              <a:defRPr sz="4400" b="1">
                <a:solidFill>
                  <a:srgbClr val="D6D6D8"/>
                </a:solidFill>
                <a:latin typeface="+mj-lt"/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791B6DEC-B2F6-2216-4B2D-186DFCADD1A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48559" y="4682402"/>
            <a:ext cx="605154" cy="654050"/>
          </a:xfrm>
        </p:spPr>
        <p:txBody>
          <a:bodyPr/>
          <a:lstStyle>
            <a:lvl1pPr algn="ctr">
              <a:defRPr sz="4400" b="1">
                <a:solidFill>
                  <a:srgbClr val="D6D6D8"/>
                </a:solidFill>
                <a:latin typeface="+mj-lt"/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80A7513D-EA5D-1BE0-E68D-6FE28C4046B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0549" y="5681697"/>
            <a:ext cx="605154" cy="654050"/>
          </a:xfrm>
        </p:spPr>
        <p:txBody>
          <a:bodyPr/>
          <a:lstStyle>
            <a:lvl1pPr algn="ctr">
              <a:defRPr sz="4400" b="1">
                <a:solidFill>
                  <a:srgbClr val="D6D6D8"/>
                </a:solidFill>
                <a:latin typeface="+mj-lt"/>
              </a:defRPr>
            </a:lvl1pPr>
          </a:lstStyle>
          <a:p>
            <a:pPr lvl="0"/>
            <a:r>
              <a:rPr lang="de-DE"/>
              <a:t>5</a:t>
            </a:r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BB8CE74E-2F3D-B2EA-DC48-75A7D7D1F51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09590" y="1684517"/>
            <a:ext cx="605154" cy="654050"/>
          </a:xfrm>
        </p:spPr>
        <p:txBody>
          <a:bodyPr/>
          <a:lstStyle>
            <a:lvl1pPr algn="ctr">
              <a:defRPr sz="4400" b="1">
                <a:solidFill>
                  <a:srgbClr val="D6D6D8"/>
                </a:solidFill>
                <a:latin typeface="+mj-lt"/>
              </a:defRPr>
            </a:lvl1pPr>
          </a:lstStyle>
          <a:p>
            <a:pPr lvl="0"/>
            <a:r>
              <a:rPr lang="de-DE"/>
              <a:t>6</a:t>
            </a:r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697E33D6-AE82-DE55-E4C2-AF076AC2CCC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20008" y="2683812"/>
            <a:ext cx="729105" cy="654050"/>
          </a:xfrm>
        </p:spPr>
        <p:txBody>
          <a:bodyPr/>
          <a:lstStyle>
            <a:lvl1pPr algn="ctr">
              <a:defRPr sz="4400" b="1">
                <a:solidFill>
                  <a:srgbClr val="D6D6D8"/>
                </a:solidFill>
                <a:latin typeface="+mj-lt"/>
              </a:defRPr>
            </a:lvl1pPr>
          </a:lstStyle>
          <a:p>
            <a:pPr lvl="0"/>
            <a:r>
              <a:rPr lang="de-DE"/>
              <a:t>7</a:t>
            </a:r>
          </a:p>
        </p:txBody>
      </p:sp>
      <p:sp>
        <p:nvSpPr>
          <p:cNvPr id="27" name="Textplatzhalter 14">
            <a:extLst>
              <a:ext uri="{FF2B5EF4-FFF2-40B4-BE49-F238E27FC236}">
                <a16:creationId xmlns:a16="http://schemas.microsoft.com/office/drawing/2014/main" id="{8B45EB83-3FA7-B0FB-6C36-26EBA38E092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094895" y="3683107"/>
            <a:ext cx="729104" cy="654050"/>
          </a:xfrm>
        </p:spPr>
        <p:txBody>
          <a:bodyPr/>
          <a:lstStyle>
            <a:lvl1pPr algn="ctr">
              <a:defRPr sz="4400" b="1">
                <a:solidFill>
                  <a:srgbClr val="D6D6D8"/>
                </a:solidFill>
                <a:latin typeface="+mj-lt"/>
              </a:defRPr>
            </a:lvl1pPr>
          </a:lstStyle>
          <a:p>
            <a:pPr lvl="0"/>
            <a:r>
              <a:rPr lang="de-DE"/>
              <a:t>8</a:t>
            </a:r>
          </a:p>
        </p:txBody>
      </p:sp>
      <p:sp>
        <p:nvSpPr>
          <p:cNvPr id="28" name="Textplatzhalter 14">
            <a:extLst>
              <a:ext uri="{FF2B5EF4-FFF2-40B4-BE49-F238E27FC236}">
                <a16:creationId xmlns:a16="http://schemas.microsoft.com/office/drawing/2014/main" id="{8F19A131-379E-006C-BCC9-3082D4C1012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99800" y="4682402"/>
            <a:ext cx="605154" cy="654050"/>
          </a:xfrm>
        </p:spPr>
        <p:txBody>
          <a:bodyPr/>
          <a:lstStyle>
            <a:lvl1pPr algn="ctr">
              <a:defRPr sz="4400" b="1">
                <a:solidFill>
                  <a:srgbClr val="D6D6D8"/>
                </a:solidFill>
                <a:latin typeface="+mj-lt"/>
              </a:defRPr>
            </a:lvl1pPr>
          </a:lstStyle>
          <a:p>
            <a:pPr lvl="0"/>
            <a:r>
              <a:rPr lang="de-DE"/>
              <a:t>9</a:t>
            </a:r>
          </a:p>
        </p:txBody>
      </p:sp>
      <p:sp>
        <p:nvSpPr>
          <p:cNvPr id="29" name="Textplatzhalter 14">
            <a:extLst>
              <a:ext uri="{FF2B5EF4-FFF2-40B4-BE49-F238E27FC236}">
                <a16:creationId xmlns:a16="http://schemas.microsoft.com/office/drawing/2014/main" id="{E30F9800-C9F4-E49D-DBC9-28141D17542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741790" y="5681697"/>
            <a:ext cx="605154" cy="654050"/>
          </a:xfrm>
        </p:spPr>
        <p:txBody>
          <a:bodyPr/>
          <a:lstStyle>
            <a:lvl1pPr algn="ctr">
              <a:defRPr sz="4400" b="1">
                <a:solidFill>
                  <a:srgbClr val="D6D6D8"/>
                </a:solidFill>
                <a:latin typeface="+mj-lt"/>
              </a:defRPr>
            </a:lvl1pPr>
          </a:lstStyle>
          <a:p>
            <a:pPr lvl="0"/>
            <a:r>
              <a:rPr lang="de-DE"/>
              <a:t>10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A702740-81EB-DB36-C834-B3B009F47E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457703" y="2482634"/>
            <a:ext cx="3405105" cy="1897865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26B5F944-C9E0-DDE1-2477-A85FD6B91339}"/>
              </a:ext>
            </a:extLst>
          </p:cNvPr>
          <p:cNvSpPr txBox="1"/>
          <p:nvPr userDrawn="1"/>
        </p:nvSpPr>
        <p:spPr bwMode="gray">
          <a:xfrm>
            <a:off x="-3424194" y="1711719"/>
            <a:ext cx="3132352" cy="4345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100"/>
              <a:t>Die Zahlen dienen nur der Vorschau und werden im Präsentationsmodus nicht angezeigt. Bitte füllen Sie diese manuell.</a:t>
            </a:r>
          </a:p>
        </p:txBody>
      </p:sp>
    </p:spTree>
    <p:extLst>
      <p:ext uri="{BB962C8B-B14F-4D97-AF65-F5344CB8AC3E}">
        <p14:creationId xmlns:p14="http://schemas.microsoft.com/office/powerpoint/2010/main" val="5765750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1916356-DAC7-F822-A8EC-194B02DCE1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33423E6-1BC0-A291-DF13-9E5AFF56E8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F3D477-7BA5-1C34-B212-FB539C2FF3F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7" name="Titel 5">
            <a:extLst>
              <a:ext uri="{FF2B5EF4-FFF2-40B4-BE49-F238E27FC236}">
                <a16:creationId xmlns:a16="http://schemas.microsoft.com/office/drawing/2014/main" id="{E099213C-AA65-8D5E-281D-4DC5F16D2F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970292"/>
            <a:ext cx="11166264" cy="480783"/>
          </a:xfrm>
        </p:spPr>
        <p:txBody>
          <a:bodyPr/>
          <a:lstStyle/>
          <a:p>
            <a:endParaRPr lang="de-DE"/>
          </a:p>
        </p:txBody>
      </p:sp>
      <p:sp>
        <p:nvSpPr>
          <p:cNvPr id="8" name="Grafik 16">
            <a:extLst>
              <a:ext uri="{FF2B5EF4-FFF2-40B4-BE49-F238E27FC236}">
                <a16:creationId xmlns:a16="http://schemas.microsoft.com/office/drawing/2014/main" id="{3D71282E-7992-D3EC-F4F4-E5C11E819F1D}"/>
              </a:ext>
            </a:extLst>
          </p:cNvPr>
          <p:cNvSpPr/>
          <p:nvPr userDrawn="1"/>
        </p:nvSpPr>
        <p:spPr>
          <a:xfrm>
            <a:off x="430530" y="1568789"/>
            <a:ext cx="1881445" cy="4811093"/>
          </a:xfrm>
          <a:custGeom>
            <a:avLst/>
            <a:gdLst>
              <a:gd name="connsiteX0" fmla="*/ 946239 w 1881445"/>
              <a:gd name="connsiteY0" fmla="*/ 4811093 h 4811093"/>
              <a:gd name="connsiteX1" fmla="*/ 0 w 1881445"/>
              <a:gd name="connsiteY1" fmla="*/ 4811093 h 4811093"/>
              <a:gd name="connsiteX2" fmla="*/ 935207 w 1881445"/>
              <a:gd name="connsiteY2" fmla="*/ 0 h 4811093"/>
              <a:gd name="connsiteX3" fmla="*/ 1881446 w 1881445"/>
              <a:gd name="connsiteY3" fmla="*/ 0 h 4811093"/>
              <a:gd name="connsiteX4" fmla="*/ 946239 w 1881445"/>
              <a:gd name="connsiteY4" fmla="*/ 4811093 h 4811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81445" h="4811093">
                <a:moveTo>
                  <a:pt x="946239" y="4811093"/>
                </a:moveTo>
                <a:lnTo>
                  <a:pt x="0" y="4811093"/>
                </a:lnTo>
                <a:lnTo>
                  <a:pt x="935207" y="0"/>
                </a:lnTo>
                <a:lnTo>
                  <a:pt x="1881446" y="0"/>
                </a:lnTo>
                <a:lnTo>
                  <a:pt x="946239" y="4811093"/>
                </a:lnTo>
                <a:close/>
              </a:path>
            </a:pathLst>
          </a:custGeom>
          <a:solidFill>
            <a:srgbClr val="6DC4C4"/>
          </a:solidFill>
          <a:ln w="834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9" name="Textplatzhalter 50">
            <a:extLst>
              <a:ext uri="{FF2B5EF4-FFF2-40B4-BE49-F238E27FC236}">
                <a16:creationId xmlns:a16="http://schemas.microsoft.com/office/drawing/2014/main" id="{35482E5B-E2C8-DF1B-9D78-9FF110FB07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35540" y="1623698"/>
            <a:ext cx="3208255" cy="236008"/>
          </a:xfr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de-DE"/>
              <a:t>Titel Agenda</a:t>
            </a:r>
          </a:p>
        </p:txBody>
      </p:sp>
      <p:sp>
        <p:nvSpPr>
          <p:cNvPr id="10" name="Textplatzhalter 52">
            <a:extLst>
              <a:ext uri="{FF2B5EF4-FFF2-40B4-BE49-F238E27FC236}">
                <a16:creationId xmlns:a16="http://schemas.microsoft.com/office/drawing/2014/main" id="{6493BDC7-1478-D478-FAF1-3943ED0F49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35540" y="1898970"/>
            <a:ext cx="3208255" cy="41592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50">
            <a:extLst>
              <a:ext uri="{FF2B5EF4-FFF2-40B4-BE49-F238E27FC236}">
                <a16:creationId xmlns:a16="http://schemas.microsoft.com/office/drawing/2014/main" id="{4EBE612F-397C-3AC2-BBE4-7177DC668B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45040" y="2658290"/>
            <a:ext cx="3208255" cy="236008"/>
          </a:xfr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de-DE"/>
              <a:t>Titel Agenda</a:t>
            </a:r>
          </a:p>
        </p:txBody>
      </p:sp>
      <p:sp>
        <p:nvSpPr>
          <p:cNvPr id="12" name="Textplatzhalter 52">
            <a:extLst>
              <a:ext uri="{FF2B5EF4-FFF2-40B4-BE49-F238E27FC236}">
                <a16:creationId xmlns:a16="http://schemas.microsoft.com/office/drawing/2014/main" id="{3890C858-FC34-1DC8-58C6-75562D355A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45040" y="2933562"/>
            <a:ext cx="3208255" cy="41592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50">
            <a:extLst>
              <a:ext uri="{FF2B5EF4-FFF2-40B4-BE49-F238E27FC236}">
                <a16:creationId xmlns:a16="http://schemas.microsoft.com/office/drawing/2014/main" id="{87F19082-B91D-850C-8F41-9206EB8ED2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32433" y="3681185"/>
            <a:ext cx="3208255" cy="236008"/>
          </a:xfr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de-DE"/>
              <a:t>Titel Agenda</a:t>
            </a:r>
          </a:p>
        </p:txBody>
      </p:sp>
      <p:sp>
        <p:nvSpPr>
          <p:cNvPr id="14" name="Textplatzhalter 52">
            <a:extLst>
              <a:ext uri="{FF2B5EF4-FFF2-40B4-BE49-F238E27FC236}">
                <a16:creationId xmlns:a16="http://schemas.microsoft.com/office/drawing/2014/main" id="{F4D4F82D-1664-2D33-4E56-EAE98C1C6C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032433" y="3956457"/>
            <a:ext cx="3208255" cy="41592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50">
            <a:extLst>
              <a:ext uri="{FF2B5EF4-FFF2-40B4-BE49-F238E27FC236}">
                <a16:creationId xmlns:a16="http://schemas.microsoft.com/office/drawing/2014/main" id="{C1963772-EBDB-2BB8-6EB3-301D3B72B6B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31102" y="4730869"/>
            <a:ext cx="3208255" cy="236008"/>
          </a:xfr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de-DE"/>
              <a:t>Titel Agenda</a:t>
            </a:r>
          </a:p>
        </p:txBody>
      </p:sp>
      <p:sp>
        <p:nvSpPr>
          <p:cNvPr id="16" name="Textplatzhalter 52">
            <a:extLst>
              <a:ext uri="{FF2B5EF4-FFF2-40B4-BE49-F238E27FC236}">
                <a16:creationId xmlns:a16="http://schemas.microsoft.com/office/drawing/2014/main" id="{08DE5621-7F03-D08B-A394-B74D893157C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831102" y="5006141"/>
            <a:ext cx="3208255" cy="41592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50">
            <a:extLst>
              <a:ext uri="{FF2B5EF4-FFF2-40B4-BE49-F238E27FC236}">
                <a16:creationId xmlns:a16="http://schemas.microsoft.com/office/drawing/2014/main" id="{7F458CEE-7DD8-4769-8F7C-D36BFF37BA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59132" y="5708050"/>
            <a:ext cx="3208255" cy="236008"/>
          </a:xfr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de-DE"/>
              <a:t>Titel Agenda</a:t>
            </a:r>
          </a:p>
        </p:txBody>
      </p:sp>
      <p:sp>
        <p:nvSpPr>
          <p:cNvPr id="18" name="Textplatzhalter 52">
            <a:extLst>
              <a:ext uri="{FF2B5EF4-FFF2-40B4-BE49-F238E27FC236}">
                <a16:creationId xmlns:a16="http://schemas.microsoft.com/office/drawing/2014/main" id="{60176F21-CAAF-47AD-2128-4CD81AE395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659132" y="5983322"/>
            <a:ext cx="3208255" cy="41592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5E456E3A-F69C-2BC9-C820-FDB5F6CB19D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58349" y="1684517"/>
            <a:ext cx="605154" cy="654050"/>
          </a:xfrm>
        </p:spPr>
        <p:txBody>
          <a:bodyPr/>
          <a:lstStyle>
            <a:lvl1pPr algn="ctr">
              <a:defRPr sz="4400" b="1">
                <a:solidFill>
                  <a:srgbClr val="D6D6D8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8A16DD7A-B0E1-5670-02FD-36DC7BBC9F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68767" y="2683812"/>
            <a:ext cx="729105" cy="654050"/>
          </a:xfrm>
        </p:spPr>
        <p:txBody>
          <a:bodyPr/>
          <a:lstStyle>
            <a:lvl1pPr algn="ctr">
              <a:defRPr sz="4400" b="1">
                <a:solidFill>
                  <a:srgbClr val="D6D6D8"/>
                </a:solidFill>
                <a:latin typeface="+mj-lt"/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7815CC11-E282-C503-A141-F8073FAC404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43654" y="3683107"/>
            <a:ext cx="729104" cy="654050"/>
          </a:xfrm>
        </p:spPr>
        <p:txBody>
          <a:bodyPr/>
          <a:lstStyle>
            <a:lvl1pPr algn="ctr">
              <a:defRPr sz="4400" b="1">
                <a:solidFill>
                  <a:srgbClr val="D6D6D8"/>
                </a:solidFill>
                <a:latin typeface="+mj-lt"/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E828BD56-FE68-4D42-EAF8-318860DA42B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48559" y="4682402"/>
            <a:ext cx="605154" cy="654050"/>
          </a:xfrm>
        </p:spPr>
        <p:txBody>
          <a:bodyPr/>
          <a:lstStyle>
            <a:lvl1pPr algn="ctr">
              <a:defRPr sz="4400" b="1">
                <a:solidFill>
                  <a:srgbClr val="D6D6D8"/>
                </a:solidFill>
                <a:latin typeface="+mj-lt"/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F1BA4DF7-C834-2991-0AC3-D936ADD7B5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0549" y="5681697"/>
            <a:ext cx="605154" cy="654050"/>
          </a:xfrm>
        </p:spPr>
        <p:txBody>
          <a:bodyPr/>
          <a:lstStyle>
            <a:lvl1pPr algn="ctr">
              <a:defRPr sz="4400" b="1">
                <a:solidFill>
                  <a:srgbClr val="D6D6D8"/>
                </a:solidFill>
                <a:latin typeface="+mj-lt"/>
              </a:defRPr>
            </a:lvl1pPr>
          </a:lstStyle>
          <a:p>
            <a:pPr lvl="0"/>
            <a:r>
              <a:rPr lang="de-DE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4707465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ischenfoli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CFE2199D-1A26-864D-2BA9-D1A5B15D024F}"/>
              </a:ext>
            </a:extLst>
          </p:cNvPr>
          <p:cNvSpPr/>
          <p:nvPr userDrawn="1"/>
        </p:nvSpPr>
        <p:spPr>
          <a:xfrm>
            <a:off x="1810317" y="1418974"/>
            <a:ext cx="8571366" cy="3804557"/>
          </a:xfrm>
          <a:prstGeom prst="rect">
            <a:avLst/>
          </a:prstGeom>
          <a:solidFill>
            <a:srgbClr val="6DC4C4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5A59A17-BCE2-31AD-2BD8-5AC2F8613D1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0182"/>
            <a:ext cx="12236450" cy="6868181"/>
          </a:xfrm>
          <a:custGeom>
            <a:avLst/>
            <a:gdLst>
              <a:gd name="connsiteX0" fmla="*/ 1810317 w 12236450"/>
              <a:gd name="connsiteY0" fmla="*/ 1429156 h 6868181"/>
              <a:gd name="connsiteX1" fmla="*/ 1810317 w 12236450"/>
              <a:gd name="connsiteY1" fmla="*/ 5233713 h 6868181"/>
              <a:gd name="connsiteX2" fmla="*/ 10381683 w 12236450"/>
              <a:gd name="connsiteY2" fmla="*/ 5233713 h 6868181"/>
              <a:gd name="connsiteX3" fmla="*/ 10381683 w 12236450"/>
              <a:gd name="connsiteY3" fmla="*/ 1429156 h 6868181"/>
              <a:gd name="connsiteX4" fmla="*/ 11589223 w 12236450"/>
              <a:gd name="connsiteY4" fmla="*/ 668550 h 6868181"/>
              <a:gd name="connsiteX5" fmla="*/ 11589230 w 12236450"/>
              <a:gd name="connsiteY5" fmla="*/ 668554 h 6868181"/>
              <a:gd name="connsiteX6" fmla="*/ 11589223 w 12236450"/>
              <a:gd name="connsiteY6" fmla="*/ 668589 h 6868181"/>
              <a:gd name="connsiteX7" fmla="*/ 11629465 w 12236450"/>
              <a:gd name="connsiteY7" fmla="*/ 628781 h 6868181"/>
              <a:gd name="connsiteX8" fmla="*/ 11621377 w 12236450"/>
              <a:gd name="connsiteY8" fmla="*/ 666972 h 6868181"/>
              <a:gd name="connsiteX9" fmla="*/ 11611593 w 12236450"/>
              <a:gd name="connsiteY9" fmla="*/ 673994 h 6868181"/>
              <a:gd name="connsiteX10" fmla="*/ 11597774 w 12236450"/>
              <a:gd name="connsiteY10" fmla="*/ 672958 h 6868181"/>
              <a:gd name="connsiteX11" fmla="*/ 11589230 w 12236450"/>
              <a:gd name="connsiteY11" fmla="*/ 668554 h 6868181"/>
              <a:gd name="connsiteX12" fmla="*/ 11594865 w 12236450"/>
              <a:gd name="connsiteY12" fmla="*/ 641998 h 6868181"/>
              <a:gd name="connsiteX13" fmla="*/ 11629465 w 12236450"/>
              <a:gd name="connsiteY13" fmla="*/ 628781 h 6868181"/>
              <a:gd name="connsiteX14" fmla="*/ 11553636 w 12236450"/>
              <a:gd name="connsiteY14" fmla="*/ 628505 h 6868181"/>
              <a:gd name="connsiteX15" fmla="*/ 11545470 w 12236450"/>
              <a:gd name="connsiteY15" fmla="*/ 667050 h 6868181"/>
              <a:gd name="connsiteX16" fmla="*/ 11545470 w 12236450"/>
              <a:gd name="connsiteY16" fmla="*/ 667011 h 6868181"/>
              <a:gd name="connsiteX17" fmla="*/ 11535686 w 12236450"/>
              <a:gd name="connsiteY17" fmla="*/ 674152 h 6868181"/>
              <a:gd name="connsiteX18" fmla="*/ 11513316 w 12236450"/>
              <a:gd name="connsiteY18" fmla="*/ 668628 h 6868181"/>
              <a:gd name="connsiteX19" fmla="*/ 11519234 w 12236450"/>
              <a:gd name="connsiteY19" fmla="*/ 640893 h 6868181"/>
              <a:gd name="connsiteX20" fmla="*/ 11553636 w 12236450"/>
              <a:gd name="connsiteY20" fmla="*/ 628505 h 6868181"/>
              <a:gd name="connsiteX21" fmla="*/ 11569181 w 12236450"/>
              <a:gd name="connsiteY21" fmla="*/ 555518 h 6868181"/>
              <a:gd name="connsiteX22" fmla="*/ 11560028 w 12236450"/>
              <a:gd name="connsiteY22" fmla="*/ 598639 h 6868181"/>
              <a:gd name="connsiteX23" fmla="*/ 11604136 w 12236450"/>
              <a:gd name="connsiteY23" fmla="*/ 598639 h 6868181"/>
              <a:gd name="connsiteX24" fmla="*/ 11610370 w 12236450"/>
              <a:gd name="connsiteY24" fmla="*/ 569326 h 6868181"/>
              <a:gd name="connsiteX25" fmla="*/ 11644970 w 12236450"/>
              <a:gd name="connsiteY25" fmla="*/ 555754 h 6868181"/>
              <a:gd name="connsiteX26" fmla="*/ 11635896 w 12236450"/>
              <a:gd name="connsiteY26" fmla="*/ 598600 h 6868181"/>
              <a:gd name="connsiteX27" fmla="*/ 11662053 w 12236450"/>
              <a:gd name="connsiteY27" fmla="*/ 598600 h 6868181"/>
              <a:gd name="connsiteX28" fmla="*/ 11662842 w 12236450"/>
              <a:gd name="connsiteY28" fmla="*/ 619352 h 6868181"/>
              <a:gd name="connsiteX29" fmla="*/ 11653846 w 12236450"/>
              <a:gd name="connsiteY29" fmla="*/ 627440 h 6868181"/>
              <a:gd name="connsiteX30" fmla="*/ 11498600 w 12236450"/>
              <a:gd name="connsiteY30" fmla="*/ 627282 h 6868181"/>
              <a:gd name="connsiteX31" fmla="*/ 11498560 w 12236450"/>
              <a:gd name="connsiteY31" fmla="*/ 627322 h 6868181"/>
              <a:gd name="connsiteX32" fmla="*/ 11497219 w 12236450"/>
              <a:gd name="connsiteY32" fmla="*/ 627045 h 6868181"/>
              <a:gd name="connsiteX33" fmla="*/ 11492919 w 12236450"/>
              <a:gd name="connsiteY33" fmla="*/ 619391 h 6868181"/>
              <a:gd name="connsiteX34" fmla="*/ 11503492 w 12236450"/>
              <a:gd name="connsiteY34" fmla="*/ 598639 h 6868181"/>
              <a:gd name="connsiteX35" fmla="*/ 11528229 w 12236450"/>
              <a:gd name="connsiteY35" fmla="*/ 598639 h 6868181"/>
              <a:gd name="connsiteX36" fmla="*/ 11534660 w 12236450"/>
              <a:gd name="connsiteY36" fmla="*/ 568182 h 6868181"/>
              <a:gd name="connsiteX37" fmla="*/ 11569181 w 12236450"/>
              <a:gd name="connsiteY37" fmla="*/ 555518 h 6868181"/>
              <a:gd name="connsiteX38" fmla="*/ 11509016 w 12236450"/>
              <a:gd name="connsiteY38" fmla="*/ 546325 h 6868181"/>
              <a:gd name="connsiteX39" fmla="*/ 11509073 w 12236450"/>
              <a:gd name="connsiteY39" fmla="*/ 546426 h 6868181"/>
              <a:gd name="connsiteX40" fmla="*/ 11509055 w 12236450"/>
              <a:gd name="connsiteY40" fmla="*/ 546483 h 6868181"/>
              <a:gd name="connsiteX41" fmla="*/ 11653215 w 12236450"/>
              <a:gd name="connsiteY41" fmla="*/ 478348 h 6868181"/>
              <a:gd name="connsiteX42" fmla="*/ 11659804 w 12236450"/>
              <a:gd name="connsiteY42" fmla="*/ 484147 h 6868181"/>
              <a:gd name="connsiteX43" fmla="*/ 11659804 w 12236450"/>
              <a:gd name="connsiteY43" fmla="*/ 485449 h 6868181"/>
              <a:gd name="connsiteX44" fmla="*/ 11651361 w 12236450"/>
              <a:gd name="connsiteY44" fmla="*/ 525573 h 6868181"/>
              <a:gd name="connsiteX45" fmla="*/ 11678110 w 12236450"/>
              <a:gd name="connsiteY45" fmla="*/ 525573 h 6868181"/>
              <a:gd name="connsiteX46" fmla="*/ 11678899 w 12236450"/>
              <a:gd name="connsiteY46" fmla="*/ 546325 h 6868181"/>
              <a:gd name="connsiteX47" fmla="*/ 11669904 w 12236450"/>
              <a:gd name="connsiteY47" fmla="*/ 554334 h 6868181"/>
              <a:gd name="connsiteX48" fmla="*/ 11514618 w 12236450"/>
              <a:gd name="connsiteY48" fmla="*/ 554255 h 6868181"/>
              <a:gd name="connsiteX49" fmla="*/ 11513316 w 12236450"/>
              <a:gd name="connsiteY49" fmla="*/ 553979 h 6868181"/>
              <a:gd name="connsiteX50" fmla="*/ 11509073 w 12236450"/>
              <a:gd name="connsiteY50" fmla="*/ 546426 h 6868181"/>
              <a:gd name="connsiteX51" fmla="*/ 11513114 w 12236450"/>
              <a:gd name="connsiteY51" fmla="*/ 533828 h 6868181"/>
              <a:gd name="connsiteX52" fmla="*/ 11519628 w 12236450"/>
              <a:gd name="connsiteY52" fmla="*/ 525731 h 6868181"/>
              <a:gd name="connsiteX53" fmla="*/ 11543734 w 12236450"/>
              <a:gd name="connsiteY53" fmla="*/ 525731 h 6868181"/>
              <a:gd name="connsiteX54" fmla="*/ 11552611 w 12236450"/>
              <a:gd name="connsiteY54" fmla="*/ 483989 h 6868181"/>
              <a:gd name="connsiteX55" fmla="*/ 11577348 w 12236450"/>
              <a:gd name="connsiteY55" fmla="*/ 478427 h 6868181"/>
              <a:gd name="connsiteX56" fmla="*/ 11583936 w 12236450"/>
              <a:gd name="connsiteY56" fmla="*/ 484226 h 6868181"/>
              <a:gd name="connsiteX57" fmla="*/ 11583936 w 12236450"/>
              <a:gd name="connsiteY57" fmla="*/ 485528 h 6868181"/>
              <a:gd name="connsiteX58" fmla="*/ 11575493 w 12236450"/>
              <a:gd name="connsiteY58" fmla="*/ 525652 h 6868181"/>
              <a:gd name="connsiteX59" fmla="*/ 11619601 w 12236450"/>
              <a:gd name="connsiteY59" fmla="*/ 525652 h 6868181"/>
              <a:gd name="connsiteX60" fmla="*/ 11628479 w 12236450"/>
              <a:gd name="connsiteY60" fmla="*/ 483911 h 6868181"/>
              <a:gd name="connsiteX61" fmla="*/ 11653215 w 12236450"/>
              <a:gd name="connsiteY61" fmla="*/ 478348 h 6868181"/>
              <a:gd name="connsiteX62" fmla="*/ 11767392 w 12236450"/>
              <a:gd name="connsiteY62" fmla="*/ 424377 h 6868181"/>
              <a:gd name="connsiteX63" fmla="*/ 11853911 w 12236450"/>
              <a:gd name="connsiteY63" fmla="*/ 480715 h 6868181"/>
              <a:gd name="connsiteX64" fmla="*/ 11851189 w 12236450"/>
              <a:gd name="connsiteY64" fmla="*/ 505018 h 6868181"/>
              <a:gd name="connsiteX65" fmla="*/ 11851110 w 12236450"/>
              <a:gd name="connsiteY65" fmla="*/ 505018 h 6868181"/>
              <a:gd name="connsiteX66" fmla="*/ 11848467 w 12236450"/>
              <a:gd name="connsiteY66" fmla="*/ 517959 h 6868181"/>
              <a:gd name="connsiteX67" fmla="*/ 11788183 w 12236450"/>
              <a:gd name="connsiteY67" fmla="*/ 578163 h 6868181"/>
              <a:gd name="connsiteX68" fmla="*/ 11828504 w 12236450"/>
              <a:gd name="connsiteY68" fmla="*/ 627795 h 6868181"/>
              <a:gd name="connsiteX69" fmla="*/ 11826294 w 12236450"/>
              <a:gd name="connsiteY69" fmla="*/ 648666 h 6868181"/>
              <a:gd name="connsiteX70" fmla="*/ 11822783 w 12236450"/>
              <a:gd name="connsiteY70" fmla="*/ 665039 h 6868181"/>
              <a:gd name="connsiteX71" fmla="*/ 11696022 w 12236450"/>
              <a:gd name="connsiteY71" fmla="*/ 753768 h 6868181"/>
              <a:gd name="connsiteX72" fmla="*/ 11613565 w 12236450"/>
              <a:gd name="connsiteY72" fmla="*/ 739170 h 6868181"/>
              <a:gd name="connsiteX73" fmla="*/ 11631713 w 12236450"/>
              <a:gd name="connsiteY73" fmla="*/ 713368 h 6868181"/>
              <a:gd name="connsiteX74" fmla="*/ 11691997 w 12236450"/>
              <a:gd name="connsiteY74" fmla="*/ 719168 h 6868181"/>
              <a:gd name="connsiteX75" fmla="*/ 11783370 w 12236450"/>
              <a:gd name="connsiteY75" fmla="*/ 666459 h 6868181"/>
              <a:gd name="connsiteX76" fmla="*/ 11786447 w 12236450"/>
              <a:gd name="connsiteY76" fmla="*/ 650441 h 6868181"/>
              <a:gd name="connsiteX77" fmla="*/ 11788223 w 12236450"/>
              <a:gd name="connsiteY77" fmla="*/ 635370 h 6868181"/>
              <a:gd name="connsiteX78" fmla="*/ 11723954 w 12236450"/>
              <a:gd name="connsiteY78" fmla="*/ 597693 h 6868181"/>
              <a:gd name="connsiteX79" fmla="*/ 11709791 w 12236450"/>
              <a:gd name="connsiteY79" fmla="*/ 597693 h 6868181"/>
              <a:gd name="connsiteX80" fmla="*/ 11704859 w 12236450"/>
              <a:gd name="connsiteY80" fmla="*/ 582188 h 6868181"/>
              <a:gd name="connsiteX81" fmla="*/ 11717286 w 12236450"/>
              <a:gd name="connsiteY81" fmla="*/ 562659 h 6868181"/>
              <a:gd name="connsiteX82" fmla="*/ 11725295 w 12236450"/>
              <a:gd name="connsiteY82" fmla="*/ 562659 h 6868181"/>
              <a:gd name="connsiteX83" fmla="*/ 11809527 w 12236450"/>
              <a:gd name="connsiteY83" fmla="*/ 516104 h 6868181"/>
              <a:gd name="connsiteX84" fmla="*/ 11811302 w 12236450"/>
              <a:gd name="connsiteY84" fmla="*/ 506872 h 6868181"/>
              <a:gd name="connsiteX85" fmla="*/ 11813078 w 12236450"/>
              <a:gd name="connsiteY85" fmla="*/ 491722 h 6868181"/>
              <a:gd name="connsiteX86" fmla="*/ 11750585 w 12236450"/>
              <a:gd name="connsiteY86" fmla="*/ 458108 h 6868181"/>
              <a:gd name="connsiteX87" fmla="*/ 11692037 w 12236450"/>
              <a:gd name="connsiteY87" fmla="*/ 462961 h 6868181"/>
              <a:gd name="connsiteX88" fmla="*/ 11685448 w 12236450"/>
              <a:gd name="connsiteY88" fmla="*/ 444813 h 6868181"/>
              <a:gd name="connsiteX89" fmla="*/ 11685882 w 12236450"/>
              <a:gd name="connsiteY89" fmla="*/ 438106 h 6868181"/>
              <a:gd name="connsiteX90" fmla="*/ 11767392 w 12236450"/>
              <a:gd name="connsiteY90" fmla="*/ 424377 h 6868181"/>
              <a:gd name="connsiteX91" fmla="*/ 11685882 w 12236450"/>
              <a:gd name="connsiteY91" fmla="*/ 317617 h 6868181"/>
              <a:gd name="connsiteX92" fmla="*/ 11424981 w 12236450"/>
              <a:gd name="connsiteY92" fmla="*/ 578518 h 6868181"/>
              <a:gd name="connsiteX93" fmla="*/ 11685882 w 12236450"/>
              <a:gd name="connsiteY93" fmla="*/ 839498 h 6868181"/>
              <a:gd name="connsiteX94" fmla="*/ 11946783 w 12236450"/>
              <a:gd name="connsiteY94" fmla="*/ 578518 h 6868181"/>
              <a:gd name="connsiteX95" fmla="*/ 11685882 w 12236450"/>
              <a:gd name="connsiteY95" fmla="*/ 317617 h 6868181"/>
              <a:gd name="connsiteX96" fmla="*/ 0 w 12236450"/>
              <a:gd name="connsiteY96" fmla="*/ 0 h 6868181"/>
              <a:gd name="connsiteX97" fmla="*/ 12236450 w 12236450"/>
              <a:gd name="connsiteY97" fmla="*/ 0 h 6868181"/>
              <a:gd name="connsiteX98" fmla="*/ 12236450 w 12236450"/>
              <a:gd name="connsiteY98" fmla="*/ 6868181 h 6868181"/>
              <a:gd name="connsiteX99" fmla="*/ 0 w 12236450"/>
              <a:gd name="connsiteY99" fmla="*/ 6868181 h 6868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</a:cxnLst>
            <a:rect l="l" t="t" r="r" b="b"/>
            <a:pathLst>
              <a:path w="12236450" h="6868181">
                <a:moveTo>
                  <a:pt x="1810317" y="1429156"/>
                </a:moveTo>
                <a:lnTo>
                  <a:pt x="1810317" y="5233713"/>
                </a:lnTo>
                <a:lnTo>
                  <a:pt x="10381683" y="5233713"/>
                </a:lnTo>
                <a:lnTo>
                  <a:pt x="10381683" y="1429156"/>
                </a:lnTo>
                <a:close/>
                <a:moveTo>
                  <a:pt x="11589223" y="668550"/>
                </a:moveTo>
                <a:lnTo>
                  <a:pt x="11589230" y="668554"/>
                </a:lnTo>
                <a:lnTo>
                  <a:pt x="11589223" y="668589"/>
                </a:lnTo>
                <a:close/>
                <a:moveTo>
                  <a:pt x="11629465" y="628781"/>
                </a:moveTo>
                <a:lnTo>
                  <a:pt x="11621377" y="666972"/>
                </a:lnTo>
                <a:cubicBezTo>
                  <a:pt x="11620312" y="671193"/>
                  <a:pt x="11616090" y="673994"/>
                  <a:pt x="11611593" y="673994"/>
                </a:cubicBezTo>
                <a:cubicBezTo>
                  <a:pt x="11608082" y="673994"/>
                  <a:pt x="11602489" y="673757"/>
                  <a:pt x="11597774" y="672958"/>
                </a:cubicBezTo>
                <a:lnTo>
                  <a:pt x="11589230" y="668554"/>
                </a:lnTo>
                <a:lnTo>
                  <a:pt x="11594865" y="641998"/>
                </a:lnTo>
                <a:cubicBezTo>
                  <a:pt x="11605241" y="635409"/>
                  <a:pt x="11616958" y="630912"/>
                  <a:pt x="11629465" y="628781"/>
                </a:cubicBezTo>
                <a:close/>
                <a:moveTo>
                  <a:pt x="11553636" y="628505"/>
                </a:moveTo>
                <a:lnTo>
                  <a:pt x="11545470" y="667050"/>
                </a:lnTo>
                <a:lnTo>
                  <a:pt x="11545470" y="667011"/>
                </a:lnTo>
                <a:cubicBezTo>
                  <a:pt x="11544405" y="671232"/>
                  <a:pt x="11540183" y="674152"/>
                  <a:pt x="11535686" y="674152"/>
                </a:cubicBezTo>
                <a:cubicBezTo>
                  <a:pt x="11528544" y="674152"/>
                  <a:pt x="11513316" y="673087"/>
                  <a:pt x="11513316" y="668628"/>
                </a:cubicBezTo>
                <a:lnTo>
                  <a:pt x="11519234" y="640893"/>
                </a:lnTo>
                <a:cubicBezTo>
                  <a:pt x="11529531" y="634660"/>
                  <a:pt x="11541248" y="630320"/>
                  <a:pt x="11553636" y="628505"/>
                </a:cubicBezTo>
                <a:close/>
                <a:moveTo>
                  <a:pt x="11569181" y="555518"/>
                </a:moveTo>
                <a:lnTo>
                  <a:pt x="11560028" y="598639"/>
                </a:lnTo>
                <a:lnTo>
                  <a:pt x="11604136" y="598639"/>
                </a:lnTo>
                <a:lnTo>
                  <a:pt x="11610370" y="569326"/>
                </a:lnTo>
                <a:cubicBezTo>
                  <a:pt x="11620667" y="562619"/>
                  <a:pt x="11632384" y="557963"/>
                  <a:pt x="11644970" y="555754"/>
                </a:cubicBezTo>
                <a:lnTo>
                  <a:pt x="11635896" y="598600"/>
                </a:lnTo>
                <a:lnTo>
                  <a:pt x="11662053" y="598600"/>
                </a:lnTo>
                <a:cubicBezTo>
                  <a:pt x="11666471" y="599586"/>
                  <a:pt x="11664341" y="612408"/>
                  <a:pt x="11662842" y="619352"/>
                </a:cubicBezTo>
                <a:cubicBezTo>
                  <a:pt x="11661855" y="623771"/>
                  <a:pt x="11658186" y="627282"/>
                  <a:pt x="11653846" y="627440"/>
                </a:cubicBezTo>
                <a:lnTo>
                  <a:pt x="11498600" y="627282"/>
                </a:lnTo>
                <a:lnTo>
                  <a:pt x="11498560" y="627322"/>
                </a:lnTo>
                <a:cubicBezTo>
                  <a:pt x="11498048" y="627243"/>
                  <a:pt x="11497771" y="627124"/>
                  <a:pt x="11497219" y="627045"/>
                </a:cubicBezTo>
                <a:cubicBezTo>
                  <a:pt x="11494142" y="626414"/>
                  <a:pt x="11492130" y="623258"/>
                  <a:pt x="11492919" y="619391"/>
                </a:cubicBezTo>
                <a:cubicBezTo>
                  <a:pt x="11494221" y="613237"/>
                  <a:pt x="11498916" y="598718"/>
                  <a:pt x="11503492" y="598639"/>
                </a:cubicBezTo>
                <a:lnTo>
                  <a:pt x="11528229" y="598639"/>
                </a:lnTo>
                <a:lnTo>
                  <a:pt x="11534660" y="568182"/>
                </a:lnTo>
                <a:cubicBezTo>
                  <a:pt x="11545036" y="561830"/>
                  <a:pt x="11556675" y="557451"/>
                  <a:pt x="11569181" y="555518"/>
                </a:cubicBezTo>
                <a:close/>
                <a:moveTo>
                  <a:pt x="11509016" y="546325"/>
                </a:moveTo>
                <a:lnTo>
                  <a:pt x="11509073" y="546426"/>
                </a:lnTo>
                <a:lnTo>
                  <a:pt x="11509055" y="546483"/>
                </a:lnTo>
                <a:close/>
                <a:moveTo>
                  <a:pt x="11653215" y="478348"/>
                </a:moveTo>
                <a:cubicBezTo>
                  <a:pt x="11657160" y="478348"/>
                  <a:pt x="11659804" y="480991"/>
                  <a:pt x="11659804" y="484147"/>
                </a:cubicBezTo>
                <a:lnTo>
                  <a:pt x="11659804" y="485449"/>
                </a:lnTo>
                <a:lnTo>
                  <a:pt x="11651361" y="525573"/>
                </a:lnTo>
                <a:lnTo>
                  <a:pt x="11678110" y="525573"/>
                </a:lnTo>
                <a:cubicBezTo>
                  <a:pt x="11682529" y="526441"/>
                  <a:pt x="11680398" y="539381"/>
                  <a:pt x="11678899" y="546325"/>
                </a:cubicBezTo>
                <a:cubicBezTo>
                  <a:pt x="11677913" y="550626"/>
                  <a:pt x="11674244" y="554255"/>
                  <a:pt x="11669904" y="554334"/>
                </a:cubicBezTo>
                <a:lnTo>
                  <a:pt x="11514618" y="554255"/>
                </a:lnTo>
                <a:cubicBezTo>
                  <a:pt x="11514105" y="554176"/>
                  <a:pt x="11513829" y="554097"/>
                  <a:pt x="11513316" y="553979"/>
                </a:cubicBezTo>
                <a:lnTo>
                  <a:pt x="11509073" y="546426"/>
                </a:lnTo>
                <a:lnTo>
                  <a:pt x="11513114" y="533828"/>
                </a:lnTo>
                <a:cubicBezTo>
                  <a:pt x="11515022" y="529419"/>
                  <a:pt x="11517340" y="525770"/>
                  <a:pt x="11519628" y="525731"/>
                </a:cubicBezTo>
                <a:lnTo>
                  <a:pt x="11543734" y="525731"/>
                </a:lnTo>
                <a:lnTo>
                  <a:pt x="11552611" y="483989"/>
                </a:lnTo>
                <a:cubicBezTo>
                  <a:pt x="11553676" y="479492"/>
                  <a:pt x="11570996" y="478427"/>
                  <a:pt x="11577348" y="478427"/>
                </a:cubicBezTo>
                <a:cubicBezTo>
                  <a:pt x="11581293" y="478427"/>
                  <a:pt x="11583936" y="481070"/>
                  <a:pt x="11583936" y="484226"/>
                </a:cubicBezTo>
                <a:lnTo>
                  <a:pt x="11583936" y="485528"/>
                </a:lnTo>
                <a:lnTo>
                  <a:pt x="11575493" y="525652"/>
                </a:lnTo>
                <a:lnTo>
                  <a:pt x="11619601" y="525652"/>
                </a:lnTo>
                <a:lnTo>
                  <a:pt x="11628479" y="483911"/>
                </a:lnTo>
                <a:cubicBezTo>
                  <a:pt x="11629543" y="479413"/>
                  <a:pt x="11646982" y="478348"/>
                  <a:pt x="11653215" y="478348"/>
                </a:cubicBezTo>
                <a:close/>
                <a:moveTo>
                  <a:pt x="11767392" y="424377"/>
                </a:moveTo>
                <a:cubicBezTo>
                  <a:pt x="11821521" y="424377"/>
                  <a:pt x="11853911" y="437672"/>
                  <a:pt x="11853911" y="480715"/>
                </a:cubicBezTo>
                <a:cubicBezTo>
                  <a:pt x="11853911" y="487777"/>
                  <a:pt x="11852965" y="495786"/>
                  <a:pt x="11851189" y="505018"/>
                </a:cubicBezTo>
                <a:lnTo>
                  <a:pt x="11851110" y="505018"/>
                </a:lnTo>
                <a:lnTo>
                  <a:pt x="11848467" y="517959"/>
                </a:lnTo>
                <a:cubicBezTo>
                  <a:pt x="11840458" y="555636"/>
                  <a:pt x="11810790" y="572009"/>
                  <a:pt x="11788183" y="578163"/>
                </a:cubicBezTo>
                <a:cubicBezTo>
                  <a:pt x="11808620" y="581319"/>
                  <a:pt x="11828504" y="595523"/>
                  <a:pt x="11828504" y="627795"/>
                </a:cubicBezTo>
                <a:cubicBezTo>
                  <a:pt x="11828504" y="634028"/>
                  <a:pt x="11828070" y="641169"/>
                  <a:pt x="11826294" y="648666"/>
                </a:cubicBezTo>
                <a:lnTo>
                  <a:pt x="11822783" y="665039"/>
                </a:lnTo>
                <a:cubicBezTo>
                  <a:pt x="11808186" y="733331"/>
                  <a:pt x="11750506" y="753768"/>
                  <a:pt x="11696022" y="753768"/>
                </a:cubicBezTo>
                <a:cubicBezTo>
                  <a:pt x="11664933" y="753768"/>
                  <a:pt x="11613565" y="748402"/>
                  <a:pt x="11613565" y="739170"/>
                </a:cubicBezTo>
                <a:cubicBezTo>
                  <a:pt x="11613565" y="735107"/>
                  <a:pt x="11624651" y="713368"/>
                  <a:pt x="11631713" y="713368"/>
                </a:cubicBezTo>
                <a:cubicBezTo>
                  <a:pt x="11650375" y="715656"/>
                  <a:pt x="11669470" y="719168"/>
                  <a:pt x="11691997" y="719168"/>
                </a:cubicBezTo>
                <a:cubicBezTo>
                  <a:pt x="11728807" y="719168"/>
                  <a:pt x="11774454" y="712027"/>
                  <a:pt x="11783370" y="666459"/>
                </a:cubicBezTo>
                <a:lnTo>
                  <a:pt x="11786447" y="650441"/>
                </a:lnTo>
                <a:cubicBezTo>
                  <a:pt x="11787315" y="644720"/>
                  <a:pt x="11788223" y="639789"/>
                  <a:pt x="11788223" y="635370"/>
                </a:cubicBezTo>
                <a:cubicBezTo>
                  <a:pt x="11788223" y="603413"/>
                  <a:pt x="11759422" y="597693"/>
                  <a:pt x="11723954" y="597693"/>
                </a:cubicBezTo>
                <a:lnTo>
                  <a:pt x="11709791" y="597693"/>
                </a:lnTo>
                <a:cubicBezTo>
                  <a:pt x="11706161" y="597693"/>
                  <a:pt x="11704859" y="590118"/>
                  <a:pt x="11704859" y="582188"/>
                </a:cubicBezTo>
                <a:cubicBezTo>
                  <a:pt x="11704859" y="571101"/>
                  <a:pt x="11708015" y="562659"/>
                  <a:pt x="11717286" y="562659"/>
                </a:cubicBezTo>
                <a:lnTo>
                  <a:pt x="11725295" y="562659"/>
                </a:lnTo>
                <a:cubicBezTo>
                  <a:pt x="11766484" y="562659"/>
                  <a:pt x="11802820" y="551572"/>
                  <a:pt x="11809527" y="516104"/>
                </a:cubicBezTo>
                <a:lnTo>
                  <a:pt x="11811302" y="506872"/>
                </a:lnTo>
                <a:cubicBezTo>
                  <a:pt x="11812604" y="501506"/>
                  <a:pt x="11813078" y="496220"/>
                  <a:pt x="11813078" y="491722"/>
                </a:cubicBezTo>
                <a:cubicBezTo>
                  <a:pt x="11813078" y="466039"/>
                  <a:pt x="11793194" y="458108"/>
                  <a:pt x="11750585" y="458108"/>
                </a:cubicBezTo>
                <a:cubicBezTo>
                  <a:pt x="11736421" y="458108"/>
                  <a:pt x="11722692" y="459450"/>
                  <a:pt x="11692037" y="462961"/>
                </a:cubicBezTo>
                <a:cubicBezTo>
                  <a:pt x="11687658" y="462961"/>
                  <a:pt x="11685448" y="453177"/>
                  <a:pt x="11685448" y="444813"/>
                </a:cubicBezTo>
                <a:cubicBezTo>
                  <a:pt x="11685448" y="442091"/>
                  <a:pt x="11685448" y="440316"/>
                  <a:pt x="11685882" y="438106"/>
                </a:cubicBezTo>
                <a:cubicBezTo>
                  <a:pt x="11688091" y="427454"/>
                  <a:pt x="11735948" y="424377"/>
                  <a:pt x="11767392" y="424377"/>
                </a:cubicBezTo>
                <a:close/>
                <a:moveTo>
                  <a:pt x="11685882" y="317617"/>
                </a:moveTo>
                <a:cubicBezTo>
                  <a:pt x="11541801" y="317617"/>
                  <a:pt x="11424981" y="434437"/>
                  <a:pt x="11424981" y="578518"/>
                </a:cubicBezTo>
                <a:cubicBezTo>
                  <a:pt x="11424981" y="722600"/>
                  <a:pt x="11541801" y="839498"/>
                  <a:pt x="11685882" y="839498"/>
                </a:cubicBezTo>
                <a:cubicBezTo>
                  <a:pt x="11829963" y="839498"/>
                  <a:pt x="11946783" y="722600"/>
                  <a:pt x="11946783" y="578518"/>
                </a:cubicBezTo>
                <a:cubicBezTo>
                  <a:pt x="11946783" y="434437"/>
                  <a:pt x="11829963" y="317617"/>
                  <a:pt x="11685882" y="317617"/>
                </a:cubicBezTo>
                <a:close/>
                <a:moveTo>
                  <a:pt x="0" y="0"/>
                </a:moveTo>
                <a:lnTo>
                  <a:pt x="12236450" y="0"/>
                </a:lnTo>
                <a:lnTo>
                  <a:pt x="12236450" y="6868181"/>
                </a:lnTo>
                <a:lnTo>
                  <a:pt x="0" y="6868181"/>
                </a:lnTo>
                <a:close/>
              </a:path>
            </a:pathLst>
          </a:custGeom>
          <a:solidFill>
            <a:srgbClr val="D6D6D8"/>
          </a:solidFill>
          <a:ln>
            <a:noFill/>
          </a:ln>
        </p:spPr>
        <p:txBody>
          <a:bodyPr wrap="square" anchor="t">
            <a:noAutofit/>
          </a:bodyPr>
          <a:lstStyle>
            <a:lvl1pPr marL="0" indent="0" algn="ctr">
              <a:buNone/>
              <a:defRPr sz="1200" b="0" i="0">
                <a:ln>
                  <a:solidFill>
                    <a:sysClr val="windowText" lastClr="000000"/>
                  </a:solidFill>
                </a:ln>
              </a:defRPr>
            </a:lvl1pPr>
          </a:lstStyle>
          <a:p>
            <a:endParaRPr lang="en-US"/>
          </a:p>
          <a:p>
            <a:endParaRPr lang="en-US"/>
          </a:p>
          <a:p>
            <a:r>
              <a:rPr lang="en-US"/>
              <a:t>Bild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einfügen</a:t>
            </a:r>
            <a:endParaRPr lang="en-US"/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43B51E11-1C0C-EC53-EB29-B8F3EEC1A1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52713" y="2952750"/>
            <a:ext cx="6899275" cy="1809750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rgbClr val="1E242B"/>
                </a:solidFill>
              </a:defRPr>
            </a:lvl1pPr>
            <a:lvl2pPr marL="216000" indent="-216000" algn="ctr">
              <a:buClrTx/>
              <a:buFont typeface="Arial" panose="020B0604020202020204" pitchFamily="34" charset="0"/>
              <a:buChar char="•"/>
              <a:defRPr>
                <a:solidFill>
                  <a:srgbClr val="1E242B"/>
                </a:solidFill>
              </a:defRPr>
            </a:lvl2pPr>
            <a:lvl3pPr marL="432000" indent="-216000" algn="ctr">
              <a:buClrTx/>
              <a:buFont typeface="Arial" panose="020B0604020202020204" pitchFamily="34" charset="0"/>
              <a:buChar char="•"/>
              <a:defRPr>
                <a:solidFill>
                  <a:srgbClr val="1E242B"/>
                </a:solidFill>
              </a:defRPr>
            </a:lvl3pPr>
            <a:lvl4pPr marL="612000" indent="-180000" algn="ctr">
              <a:buClrTx/>
              <a:buFont typeface="Arial" panose="020B0604020202020204" pitchFamily="34" charset="0"/>
              <a:buChar char="•"/>
              <a:defRPr>
                <a:solidFill>
                  <a:srgbClr val="1E242B"/>
                </a:solidFill>
              </a:defRPr>
            </a:lvl4pPr>
            <a:lvl5pPr marL="612000" indent="-180000" algn="ctr">
              <a:buClrTx/>
              <a:buFont typeface="Arial" panose="020B0604020202020204" pitchFamily="34" charset="0"/>
              <a:buChar char="•"/>
              <a:defRPr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extplatzhalter 25">
            <a:extLst>
              <a:ext uri="{FF2B5EF4-FFF2-40B4-BE49-F238E27FC236}">
                <a16:creationId xmlns:a16="http://schemas.microsoft.com/office/drawing/2014/main" id="{3F7BB0BC-6A4E-BB50-5189-4886A7593B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52712" y="2030552"/>
            <a:ext cx="6899275" cy="695183"/>
          </a:xfrm>
        </p:spPr>
        <p:txBody>
          <a:bodyPr>
            <a:normAutofit/>
          </a:bodyPr>
          <a:lstStyle>
            <a:lvl1pPr algn="ctr">
              <a:defRPr sz="6000" b="1">
                <a:solidFill>
                  <a:srgbClr val="1E242B"/>
                </a:solidFill>
                <a:latin typeface="Overpass Black" panose="00000A00000000000000" pitchFamily="2" charset="0"/>
              </a:defRPr>
            </a:lvl1pPr>
          </a:lstStyle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47531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13836834-E134-F5D0-769E-255E7EDEFAFE}"/>
              </a:ext>
            </a:extLst>
          </p:cNvPr>
          <p:cNvSpPr/>
          <p:nvPr userDrawn="1"/>
        </p:nvSpPr>
        <p:spPr>
          <a:xfrm>
            <a:off x="5994399" y="0"/>
            <a:ext cx="6197599" cy="6855527"/>
          </a:xfrm>
          <a:custGeom>
            <a:avLst/>
            <a:gdLst>
              <a:gd name="connsiteX0" fmla="*/ 0 w 6197599"/>
              <a:gd name="connsiteY0" fmla="*/ 0 h 6855527"/>
              <a:gd name="connsiteX1" fmla="*/ 6197599 w 6197599"/>
              <a:gd name="connsiteY1" fmla="*/ 0 h 6855527"/>
              <a:gd name="connsiteX2" fmla="*/ 6197599 w 6197599"/>
              <a:gd name="connsiteY2" fmla="*/ 6855527 h 6855527"/>
              <a:gd name="connsiteX3" fmla="*/ 218267 w 6197599"/>
              <a:gd name="connsiteY3" fmla="*/ 6855527 h 6855527"/>
              <a:gd name="connsiteX4" fmla="*/ 1550823 w 6197599"/>
              <a:gd name="connsiteY4" fmla="*/ 1 h 6855527"/>
              <a:gd name="connsiteX5" fmla="*/ 0 w 6197599"/>
              <a:gd name="connsiteY5" fmla="*/ 1 h 6855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7599" h="6855527">
                <a:moveTo>
                  <a:pt x="0" y="0"/>
                </a:moveTo>
                <a:lnTo>
                  <a:pt x="6197599" y="0"/>
                </a:lnTo>
                <a:lnTo>
                  <a:pt x="6197599" y="6855527"/>
                </a:lnTo>
                <a:lnTo>
                  <a:pt x="218267" y="6855527"/>
                </a:lnTo>
                <a:lnTo>
                  <a:pt x="1550823" y="1"/>
                </a:lnTo>
                <a:lnTo>
                  <a:pt x="0" y="1"/>
                </a:lnTo>
                <a:close/>
              </a:path>
            </a:pathLst>
          </a:cu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D4BAA32-ABCF-F71B-0F1A-6D1BF2991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B162009-2B60-16C6-D5BE-9D633714D5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215C739-C607-9236-05B5-5CE373D2788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0ACA387C-5F18-8742-CE26-B3A2159C2FD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1" y="1"/>
            <a:ext cx="7545221" cy="6855527"/>
          </a:xfrm>
          <a:custGeom>
            <a:avLst/>
            <a:gdLst>
              <a:gd name="connsiteX0" fmla="*/ 0 w 7545221"/>
              <a:gd name="connsiteY0" fmla="*/ 0 h 6855527"/>
              <a:gd name="connsiteX1" fmla="*/ 7545221 w 7545221"/>
              <a:gd name="connsiteY1" fmla="*/ 0 h 6855527"/>
              <a:gd name="connsiteX2" fmla="*/ 6212665 w 7545221"/>
              <a:gd name="connsiteY2" fmla="*/ 6855527 h 6855527"/>
              <a:gd name="connsiteX3" fmla="*/ 0 w 7545221"/>
              <a:gd name="connsiteY3" fmla="*/ 6855527 h 6855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45221" h="6855527">
                <a:moveTo>
                  <a:pt x="0" y="0"/>
                </a:moveTo>
                <a:lnTo>
                  <a:pt x="7545221" y="0"/>
                </a:lnTo>
                <a:lnTo>
                  <a:pt x="6212665" y="6855527"/>
                </a:lnTo>
                <a:lnTo>
                  <a:pt x="0" y="6855527"/>
                </a:lnTo>
                <a:close/>
              </a:path>
            </a:pathLst>
          </a:custGeom>
          <a:solidFill>
            <a:srgbClr val="D6D6D8"/>
          </a:solidFill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endParaRPr lang="de-DE"/>
          </a:p>
          <a:p>
            <a:endParaRPr lang="de-DE"/>
          </a:p>
        </p:txBody>
      </p:sp>
      <p:sp>
        <p:nvSpPr>
          <p:cNvPr id="16" name="Textplatzhalter 25">
            <a:extLst>
              <a:ext uri="{FF2B5EF4-FFF2-40B4-BE49-F238E27FC236}">
                <a16:creationId xmlns:a16="http://schemas.microsoft.com/office/drawing/2014/main" id="{AB084BE8-1329-FF12-6AD0-080C027281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67500" y="1984730"/>
            <a:ext cx="5023838" cy="1763219"/>
          </a:xfrm>
        </p:spPr>
        <p:txBody>
          <a:bodyPr>
            <a:normAutofit/>
          </a:bodyPr>
          <a:lstStyle>
            <a:lvl1pPr algn="r">
              <a:defRPr sz="6000" b="1">
                <a:solidFill>
                  <a:srgbClr val="1E242B"/>
                </a:solidFill>
                <a:latin typeface="Overpass Black" panose="00000A00000000000000" pitchFamily="2" charset="0"/>
              </a:defRPr>
            </a:lvl1pPr>
          </a:lstStyle>
          <a:p>
            <a:pPr lvl="0"/>
            <a:endParaRPr lang="de-DE"/>
          </a:p>
        </p:txBody>
      </p:sp>
      <p:sp>
        <p:nvSpPr>
          <p:cNvPr id="17" name="Textplatzhalter 25">
            <a:extLst>
              <a:ext uri="{FF2B5EF4-FFF2-40B4-BE49-F238E27FC236}">
                <a16:creationId xmlns:a16="http://schemas.microsoft.com/office/drawing/2014/main" id="{79A1E169-0BB0-FCA2-FD08-98D6E71756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3064" y="4100795"/>
            <a:ext cx="3682999" cy="1624446"/>
          </a:xfrm>
        </p:spPr>
        <p:txBody>
          <a:bodyPr>
            <a:normAutofit/>
          </a:bodyPr>
          <a:lstStyle>
            <a:lvl1pPr algn="r">
              <a:defRPr sz="2400">
                <a:solidFill>
                  <a:srgbClr val="1E242B"/>
                </a:solidFill>
              </a:defRPr>
            </a:lvl1pPr>
            <a:lvl2pPr algn="r">
              <a:defRPr>
                <a:solidFill>
                  <a:srgbClr val="1E242B"/>
                </a:solidFill>
              </a:defRPr>
            </a:lvl2pPr>
            <a:lvl3pPr algn="r">
              <a:defRPr>
                <a:solidFill>
                  <a:srgbClr val="1E242B"/>
                </a:solidFill>
              </a:defRPr>
            </a:lvl3pPr>
            <a:lvl4pPr algn="r">
              <a:defRPr>
                <a:solidFill>
                  <a:srgbClr val="1E242B"/>
                </a:solidFill>
              </a:defRPr>
            </a:lvl4pPr>
            <a:lvl5pPr algn="r">
              <a:defRPr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Text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Grafik 12">
            <a:extLst>
              <a:ext uri="{FF2B5EF4-FFF2-40B4-BE49-F238E27FC236}">
                <a16:creationId xmlns:a16="http://schemas.microsoft.com/office/drawing/2014/main" id="{6BFFB679-27DE-2704-31FD-07412AFE65A7}"/>
              </a:ext>
            </a:extLst>
          </p:cNvPr>
          <p:cNvSpPr/>
          <p:nvPr userDrawn="1"/>
        </p:nvSpPr>
        <p:spPr>
          <a:xfrm>
            <a:off x="11424981" y="307435"/>
            <a:ext cx="521802" cy="521881"/>
          </a:xfrm>
          <a:custGeom>
            <a:avLst/>
            <a:gdLst>
              <a:gd name="connsiteX0" fmla="*/ 629888 w 1259776"/>
              <a:gd name="connsiteY0" fmla="*/ 0 h 1259966"/>
              <a:gd name="connsiteX1" fmla="*/ 0 w 1259776"/>
              <a:gd name="connsiteY1" fmla="*/ 629888 h 1259966"/>
              <a:gd name="connsiteX2" fmla="*/ 629888 w 1259776"/>
              <a:gd name="connsiteY2" fmla="*/ 1259967 h 1259966"/>
              <a:gd name="connsiteX3" fmla="*/ 1259777 w 1259776"/>
              <a:gd name="connsiteY3" fmla="*/ 629888 h 1259966"/>
              <a:gd name="connsiteX4" fmla="*/ 629888 w 1259776"/>
              <a:gd name="connsiteY4" fmla="*/ 0 h 1259966"/>
              <a:gd name="connsiteX5" fmla="*/ 202978 w 1259776"/>
              <a:gd name="connsiteY5" fmla="*/ 552545 h 1259966"/>
              <a:gd name="connsiteX6" fmla="*/ 228505 w 1259776"/>
              <a:gd name="connsiteY6" fmla="*/ 502444 h 1259966"/>
              <a:gd name="connsiteX7" fmla="*/ 286703 w 1259776"/>
              <a:gd name="connsiteY7" fmla="*/ 502444 h 1259966"/>
              <a:gd name="connsiteX8" fmla="*/ 308134 w 1259776"/>
              <a:gd name="connsiteY8" fmla="*/ 401669 h 1259966"/>
              <a:gd name="connsiteX9" fmla="*/ 367856 w 1259776"/>
              <a:gd name="connsiteY9" fmla="*/ 388239 h 1259966"/>
              <a:gd name="connsiteX10" fmla="*/ 383762 w 1259776"/>
              <a:gd name="connsiteY10" fmla="*/ 402241 h 1259966"/>
              <a:gd name="connsiteX11" fmla="*/ 383762 w 1259776"/>
              <a:gd name="connsiteY11" fmla="*/ 405384 h 1259966"/>
              <a:gd name="connsiteX12" fmla="*/ 363379 w 1259776"/>
              <a:gd name="connsiteY12" fmla="*/ 502253 h 1259966"/>
              <a:gd name="connsiteX13" fmla="*/ 469868 w 1259776"/>
              <a:gd name="connsiteY13" fmla="*/ 502253 h 1259966"/>
              <a:gd name="connsiteX14" fmla="*/ 491300 w 1259776"/>
              <a:gd name="connsiteY14" fmla="*/ 401479 h 1259966"/>
              <a:gd name="connsiteX15" fmla="*/ 551021 w 1259776"/>
              <a:gd name="connsiteY15" fmla="*/ 388049 h 1259966"/>
              <a:gd name="connsiteX16" fmla="*/ 566928 w 1259776"/>
              <a:gd name="connsiteY16" fmla="*/ 402050 h 1259966"/>
              <a:gd name="connsiteX17" fmla="*/ 566928 w 1259776"/>
              <a:gd name="connsiteY17" fmla="*/ 405194 h 1259966"/>
              <a:gd name="connsiteX18" fmla="*/ 546545 w 1259776"/>
              <a:gd name="connsiteY18" fmla="*/ 502063 h 1259966"/>
              <a:gd name="connsiteX19" fmla="*/ 611124 w 1259776"/>
              <a:gd name="connsiteY19" fmla="*/ 502063 h 1259966"/>
              <a:gd name="connsiteX20" fmla="*/ 613029 w 1259776"/>
              <a:gd name="connsiteY20" fmla="*/ 552164 h 1259966"/>
              <a:gd name="connsiteX21" fmla="*/ 591312 w 1259776"/>
              <a:gd name="connsiteY21" fmla="*/ 571500 h 1259966"/>
              <a:gd name="connsiteX22" fmla="*/ 216408 w 1259776"/>
              <a:gd name="connsiteY22" fmla="*/ 571310 h 1259966"/>
              <a:gd name="connsiteX23" fmla="*/ 213265 w 1259776"/>
              <a:gd name="connsiteY23" fmla="*/ 570643 h 1259966"/>
              <a:gd name="connsiteX24" fmla="*/ 202883 w 1259776"/>
              <a:gd name="connsiteY24" fmla="*/ 552164 h 1259966"/>
              <a:gd name="connsiteX25" fmla="*/ 177641 w 1259776"/>
              <a:gd name="connsiteY25" fmla="*/ 747713 h 1259966"/>
              <a:gd name="connsiteX26" fmla="*/ 174403 w 1259776"/>
              <a:gd name="connsiteY26" fmla="*/ 747046 h 1259966"/>
              <a:gd name="connsiteX27" fmla="*/ 164021 w 1259776"/>
              <a:gd name="connsiteY27" fmla="*/ 728567 h 1259966"/>
              <a:gd name="connsiteX28" fmla="*/ 189548 w 1259776"/>
              <a:gd name="connsiteY28" fmla="*/ 678466 h 1259966"/>
              <a:gd name="connsiteX29" fmla="*/ 249269 w 1259776"/>
              <a:gd name="connsiteY29" fmla="*/ 678466 h 1259966"/>
              <a:gd name="connsiteX30" fmla="*/ 264795 w 1259776"/>
              <a:gd name="connsiteY30" fmla="*/ 604933 h 1259966"/>
              <a:gd name="connsiteX31" fmla="*/ 348139 w 1259776"/>
              <a:gd name="connsiteY31" fmla="*/ 574358 h 1259966"/>
              <a:gd name="connsiteX32" fmla="*/ 326041 w 1259776"/>
              <a:gd name="connsiteY32" fmla="*/ 678466 h 1259966"/>
              <a:gd name="connsiteX33" fmla="*/ 432530 w 1259776"/>
              <a:gd name="connsiteY33" fmla="*/ 678466 h 1259966"/>
              <a:gd name="connsiteX34" fmla="*/ 447580 w 1259776"/>
              <a:gd name="connsiteY34" fmla="*/ 607695 h 1259966"/>
              <a:gd name="connsiteX35" fmla="*/ 531114 w 1259776"/>
              <a:gd name="connsiteY35" fmla="*/ 574929 h 1259966"/>
              <a:gd name="connsiteX36" fmla="*/ 509207 w 1259776"/>
              <a:gd name="connsiteY36" fmla="*/ 678371 h 1259966"/>
              <a:gd name="connsiteX37" fmla="*/ 572357 w 1259776"/>
              <a:gd name="connsiteY37" fmla="*/ 678371 h 1259966"/>
              <a:gd name="connsiteX38" fmla="*/ 574262 w 1259776"/>
              <a:gd name="connsiteY38" fmla="*/ 728472 h 1259966"/>
              <a:gd name="connsiteX39" fmla="*/ 552545 w 1259776"/>
              <a:gd name="connsiteY39" fmla="*/ 747998 h 1259966"/>
              <a:gd name="connsiteX40" fmla="*/ 177737 w 1259776"/>
              <a:gd name="connsiteY40" fmla="*/ 747617 h 1259966"/>
              <a:gd name="connsiteX41" fmla="*/ 290894 w 1259776"/>
              <a:gd name="connsiteY41" fmla="*/ 843534 h 1259966"/>
              <a:gd name="connsiteX42" fmla="*/ 267272 w 1259776"/>
              <a:gd name="connsiteY42" fmla="*/ 860774 h 1259966"/>
              <a:gd name="connsiteX43" fmla="*/ 213265 w 1259776"/>
              <a:gd name="connsiteY43" fmla="*/ 847439 h 1259966"/>
              <a:gd name="connsiteX44" fmla="*/ 227552 w 1259776"/>
              <a:gd name="connsiteY44" fmla="*/ 780479 h 1259966"/>
              <a:gd name="connsiteX45" fmla="*/ 310610 w 1259776"/>
              <a:gd name="connsiteY45" fmla="*/ 750570 h 1259966"/>
              <a:gd name="connsiteX46" fmla="*/ 290894 w 1259776"/>
              <a:gd name="connsiteY46" fmla="*/ 843629 h 1259966"/>
              <a:gd name="connsiteX47" fmla="*/ 396526 w 1259776"/>
              <a:gd name="connsiteY47" fmla="*/ 847344 h 1259966"/>
              <a:gd name="connsiteX48" fmla="*/ 410147 w 1259776"/>
              <a:gd name="connsiteY48" fmla="*/ 783146 h 1259966"/>
              <a:gd name="connsiteX49" fmla="*/ 493681 w 1259776"/>
              <a:gd name="connsiteY49" fmla="*/ 751237 h 1259966"/>
              <a:gd name="connsiteX50" fmla="*/ 474155 w 1259776"/>
              <a:gd name="connsiteY50" fmla="*/ 843439 h 1259966"/>
              <a:gd name="connsiteX51" fmla="*/ 450533 w 1259776"/>
              <a:gd name="connsiteY51" fmla="*/ 860393 h 1259966"/>
              <a:gd name="connsiteX52" fmla="*/ 396526 w 1259776"/>
              <a:gd name="connsiteY52" fmla="*/ 847249 h 1259966"/>
              <a:gd name="connsiteX53" fmla="*/ 1028795 w 1259776"/>
              <a:gd name="connsiteY53" fmla="*/ 452438 h 1259966"/>
              <a:gd name="connsiteX54" fmla="*/ 1022413 w 1259776"/>
              <a:gd name="connsiteY54" fmla="*/ 483680 h 1259966"/>
              <a:gd name="connsiteX55" fmla="*/ 876872 w 1259776"/>
              <a:gd name="connsiteY55" fmla="*/ 629031 h 1259966"/>
              <a:gd name="connsiteX56" fmla="*/ 974217 w 1259776"/>
              <a:gd name="connsiteY56" fmla="*/ 748856 h 1259966"/>
              <a:gd name="connsiteX57" fmla="*/ 968883 w 1259776"/>
              <a:gd name="connsiteY57" fmla="*/ 799243 h 1259966"/>
              <a:gd name="connsiteX58" fmla="*/ 960406 w 1259776"/>
              <a:gd name="connsiteY58" fmla="*/ 838772 h 1259966"/>
              <a:gd name="connsiteX59" fmla="*/ 654368 w 1259776"/>
              <a:gd name="connsiteY59" fmla="*/ 1052989 h 1259966"/>
              <a:gd name="connsiteX60" fmla="*/ 455295 w 1259776"/>
              <a:gd name="connsiteY60" fmla="*/ 1017746 h 1259966"/>
              <a:gd name="connsiteX61" fmla="*/ 499110 w 1259776"/>
              <a:gd name="connsiteY61" fmla="*/ 955453 h 1259966"/>
              <a:gd name="connsiteX62" fmla="*/ 644652 w 1259776"/>
              <a:gd name="connsiteY62" fmla="*/ 969455 h 1259966"/>
              <a:gd name="connsiteX63" fmla="*/ 865251 w 1259776"/>
              <a:gd name="connsiteY63" fmla="*/ 842201 h 1259966"/>
              <a:gd name="connsiteX64" fmla="*/ 872681 w 1259776"/>
              <a:gd name="connsiteY64" fmla="*/ 803529 h 1259966"/>
              <a:gd name="connsiteX65" fmla="*/ 876967 w 1259776"/>
              <a:gd name="connsiteY65" fmla="*/ 767144 h 1259966"/>
              <a:gd name="connsiteX66" fmla="*/ 721805 w 1259776"/>
              <a:gd name="connsiteY66" fmla="*/ 676180 h 1259966"/>
              <a:gd name="connsiteX67" fmla="*/ 687610 w 1259776"/>
              <a:gd name="connsiteY67" fmla="*/ 676180 h 1259966"/>
              <a:gd name="connsiteX68" fmla="*/ 675704 w 1259776"/>
              <a:gd name="connsiteY68" fmla="*/ 638747 h 1259966"/>
              <a:gd name="connsiteX69" fmla="*/ 705707 w 1259776"/>
              <a:gd name="connsiteY69" fmla="*/ 591598 h 1259966"/>
              <a:gd name="connsiteX70" fmla="*/ 725043 w 1259776"/>
              <a:gd name="connsiteY70" fmla="*/ 591598 h 1259966"/>
              <a:gd name="connsiteX71" fmla="*/ 928402 w 1259776"/>
              <a:gd name="connsiteY71" fmla="*/ 479203 h 1259966"/>
              <a:gd name="connsiteX72" fmla="*/ 932688 w 1259776"/>
              <a:gd name="connsiteY72" fmla="*/ 456914 h 1259966"/>
              <a:gd name="connsiteX73" fmla="*/ 936974 w 1259776"/>
              <a:gd name="connsiteY73" fmla="*/ 420338 h 1259966"/>
              <a:gd name="connsiteX74" fmla="*/ 786098 w 1259776"/>
              <a:gd name="connsiteY74" fmla="*/ 339185 h 1259966"/>
              <a:gd name="connsiteX75" fmla="*/ 644747 w 1259776"/>
              <a:gd name="connsiteY75" fmla="*/ 350901 h 1259966"/>
              <a:gd name="connsiteX76" fmla="*/ 628840 w 1259776"/>
              <a:gd name="connsiteY76" fmla="*/ 307086 h 1259966"/>
              <a:gd name="connsiteX77" fmla="*/ 629888 w 1259776"/>
              <a:gd name="connsiteY77" fmla="*/ 290894 h 1259966"/>
              <a:gd name="connsiteX78" fmla="*/ 826675 w 1259776"/>
              <a:gd name="connsiteY78" fmla="*/ 257747 h 1259966"/>
              <a:gd name="connsiteX79" fmla="*/ 1035558 w 1259776"/>
              <a:gd name="connsiteY79" fmla="*/ 393764 h 1259966"/>
              <a:gd name="connsiteX80" fmla="*/ 1028986 w 1259776"/>
              <a:gd name="connsiteY80" fmla="*/ 452438 h 1259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1259776" h="1259966">
                <a:moveTo>
                  <a:pt x="629888" y="0"/>
                </a:moveTo>
                <a:cubicBezTo>
                  <a:pt x="282035" y="0"/>
                  <a:pt x="0" y="282035"/>
                  <a:pt x="0" y="629888"/>
                </a:cubicBezTo>
                <a:cubicBezTo>
                  <a:pt x="0" y="977741"/>
                  <a:pt x="282035" y="1259967"/>
                  <a:pt x="629888" y="1259967"/>
                </a:cubicBezTo>
                <a:cubicBezTo>
                  <a:pt x="977741" y="1259967"/>
                  <a:pt x="1259777" y="977741"/>
                  <a:pt x="1259777" y="629888"/>
                </a:cubicBezTo>
                <a:cubicBezTo>
                  <a:pt x="1259777" y="282035"/>
                  <a:pt x="977741" y="0"/>
                  <a:pt x="629888" y="0"/>
                </a:cubicBezTo>
                <a:moveTo>
                  <a:pt x="202978" y="552545"/>
                </a:moveTo>
                <a:cubicBezTo>
                  <a:pt x="206121" y="537686"/>
                  <a:pt x="217456" y="502634"/>
                  <a:pt x="228505" y="502444"/>
                </a:cubicBezTo>
                <a:lnTo>
                  <a:pt x="286703" y="502444"/>
                </a:lnTo>
                <a:lnTo>
                  <a:pt x="308134" y="401669"/>
                </a:lnTo>
                <a:cubicBezTo>
                  <a:pt x="310706" y="390811"/>
                  <a:pt x="352520" y="388239"/>
                  <a:pt x="367856" y="388239"/>
                </a:cubicBezTo>
                <a:cubicBezTo>
                  <a:pt x="377381" y="388239"/>
                  <a:pt x="383762" y="394621"/>
                  <a:pt x="383762" y="402241"/>
                </a:cubicBezTo>
                <a:lnTo>
                  <a:pt x="383762" y="405384"/>
                </a:lnTo>
                <a:lnTo>
                  <a:pt x="363379" y="502253"/>
                </a:lnTo>
                <a:lnTo>
                  <a:pt x="469868" y="502253"/>
                </a:lnTo>
                <a:lnTo>
                  <a:pt x="491300" y="401479"/>
                </a:lnTo>
                <a:cubicBezTo>
                  <a:pt x="493871" y="390620"/>
                  <a:pt x="535972" y="388049"/>
                  <a:pt x="551021" y="388049"/>
                </a:cubicBezTo>
                <a:cubicBezTo>
                  <a:pt x="560546" y="388049"/>
                  <a:pt x="566928" y="394430"/>
                  <a:pt x="566928" y="402050"/>
                </a:cubicBezTo>
                <a:lnTo>
                  <a:pt x="566928" y="405194"/>
                </a:lnTo>
                <a:lnTo>
                  <a:pt x="546545" y="502063"/>
                </a:lnTo>
                <a:lnTo>
                  <a:pt x="611124" y="502063"/>
                </a:lnTo>
                <a:cubicBezTo>
                  <a:pt x="621792" y="504158"/>
                  <a:pt x="616649" y="535400"/>
                  <a:pt x="613029" y="552164"/>
                </a:cubicBezTo>
                <a:cubicBezTo>
                  <a:pt x="610648" y="562547"/>
                  <a:pt x="601790" y="571310"/>
                  <a:pt x="591312" y="571500"/>
                </a:cubicBezTo>
                <a:lnTo>
                  <a:pt x="216408" y="571310"/>
                </a:lnTo>
                <a:cubicBezTo>
                  <a:pt x="215170" y="571119"/>
                  <a:pt x="214503" y="570929"/>
                  <a:pt x="213265" y="570643"/>
                </a:cubicBezTo>
                <a:cubicBezTo>
                  <a:pt x="205835" y="568928"/>
                  <a:pt x="200978" y="561499"/>
                  <a:pt x="202883" y="552164"/>
                </a:cubicBezTo>
                <a:moveTo>
                  <a:pt x="177641" y="747713"/>
                </a:moveTo>
                <a:cubicBezTo>
                  <a:pt x="176403" y="747522"/>
                  <a:pt x="175736" y="747236"/>
                  <a:pt x="174403" y="747046"/>
                </a:cubicBezTo>
                <a:cubicBezTo>
                  <a:pt x="166973" y="745522"/>
                  <a:pt x="162116" y="737902"/>
                  <a:pt x="164021" y="728567"/>
                </a:cubicBezTo>
                <a:cubicBezTo>
                  <a:pt x="167164" y="713708"/>
                  <a:pt x="178499" y="678656"/>
                  <a:pt x="189548" y="678466"/>
                </a:cubicBezTo>
                <a:lnTo>
                  <a:pt x="249269" y="678466"/>
                </a:lnTo>
                <a:lnTo>
                  <a:pt x="264795" y="604933"/>
                </a:lnTo>
                <a:cubicBezTo>
                  <a:pt x="289846" y="589598"/>
                  <a:pt x="317945" y="579025"/>
                  <a:pt x="348139" y="574358"/>
                </a:cubicBezTo>
                <a:lnTo>
                  <a:pt x="326041" y="678466"/>
                </a:lnTo>
                <a:lnTo>
                  <a:pt x="432530" y="678466"/>
                </a:lnTo>
                <a:lnTo>
                  <a:pt x="447580" y="607695"/>
                </a:lnTo>
                <a:cubicBezTo>
                  <a:pt x="472440" y="591503"/>
                  <a:pt x="500729" y="580263"/>
                  <a:pt x="531114" y="574929"/>
                </a:cubicBezTo>
                <a:lnTo>
                  <a:pt x="509207" y="678371"/>
                </a:lnTo>
                <a:lnTo>
                  <a:pt x="572357" y="678371"/>
                </a:lnTo>
                <a:cubicBezTo>
                  <a:pt x="583025" y="680752"/>
                  <a:pt x="577882" y="711708"/>
                  <a:pt x="574262" y="728472"/>
                </a:cubicBezTo>
                <a:cubicBezTo>
                  <a:pt x="571881" y="739140"/>
                  <a:pt x="563023" y="747617"/>
                  <a:pt x="552545" y="747998"/>
                </a:cubicBezTo>
                <a:lnTo>
                  <a:pt x="177737" y="747617"/>
                </a:lnTo>
                <a:close/>
                <a:moveTo>
                  <a:pt x="290894" y="843534"/>
                </a:moveTo>
                <a:cubicBezTo>
                  <a:pt x="288322" y="853726"/>
                  <a:pt x="278130" y="860774"/>
                  <a:pt x="267272" y="860774"/>
                </a:cubicBezTo>
                <a:cubicBezTo>
                  <a:pt x="250031" y="860774"/>
                  <a:pt x="213265" y="858203"/>
                  <a:pt x="213265" y="847439"/>
                </a:cubicBezTo>
                <a:lnTo>
                  <a:pt x="227552" y="780479"/>
                </a:lnTo>
                <a:cubicBezTo>
                  <a:pt x="252413" y="765429"/>
                  <a:pt x="280702" y="754952"/>
                  <a:pt x="310610" y="750570"/>
                </a:cubicBezTo>
                <a:lnTo>
                  <a:pt x="290894" y="843629"/>
                </a:lnTo>
                <a:close/>
                <a:moveTo>
                  <a:pt x="396526" y="847344"/>
                </a:moveTo>
                <a:lnTo>
                  <a:pt x="410147" y="783146"/>
                </a:lnTo>
                <a:cubicBezTo>
                  <a:pt x="435197" y="767239"/>
                  <a:pt x="463487" y="756380"/>
                  <a:pt x="493681" y="751237"/>
                </a:cubicBezTo>
                <a:lnTo>
                  <a:pt x="474155" y="843439"/>
                </a:lnTo>
                <a:cubicBezTo>
                  <a:pt x="471583" y="853631"/>
                  <a:pt x="461391" y="860393"/>
                  <a:pt x="450533" y="860393"/>
                </a:cubicBezTo>
                <a:cubicBezTo>
                  <a:pt x="433578" y="860393"/>
                  <a:pt x="396526" y="858107"/>
                  <a:pt x="396526" y="847249"/>
                </a:cubicBezTo>
                <a:moveTo>
                  <a:pt x="1028795" y="452438"/>
                </a:moveTo>
                <a:lnTo>
                  <a:pt x="1022413" y="483680"/>
                </a:lnTo>
                <a:cubicBezTo>
                  <a:pt x="1003078" y="574643"/>
                  <a:pt x="931450" y="614172"/>
                  <a:pt x="876872" y="629031"/>
                </a:cubicBezTo>
                <a:cubicBezTo>
                  <a:pt x="926211" y="636651"/>
                  <a:pt x="974217" y="670941"/>
                  <a:pt x="974217" y="748856"/>
                </a:cubicBezTo>
                <a:cubicBezTo>
                  <a:pt x="974217" y="763905"/>
                  <a:pt x="973169" y="781145"/>
                  <a:pt x="968883" y="799243"/>
                </a:cubicBezTo>
                <a:lnTo>
                  <a:pt x="960406" y="838772"/>
                </a:lnTo>
                <a:cubicBezTo>
                  <a:pt x="925163" y="1003649"/>
                  <a:pt x="785908" y="1052989"/>
                  <a:pt x="654368" y="1052989"/>
                </a:cubicBezTo>
                <a:cubicBezTo>
                  <a:pt x="579311" y="1052989"/>
                  <a:pt x="455295" y="1040035"/>
                  <a:pt x="455295" y="1017746"/>
                </a:cubicBezTo>
                <a:cubicBezTo>
                  <a:pt x="455295" y="1007936"/>
                  <a:pt x="482060" y="955453"/>
                  <a:pt x="499110" y="955453"/>
                </a:cubicBezTo>
                <a:cubicBezTo>
                  <a:pt x="544163" y="960977"/>
                  <a:pt x="590264" y="969455"/>
                  <a:pt x="644652" y="969455"/>
                </a:cubicBezTo>
                <a:cubicBezTo>
                  <a:pt x="733520" y="969455"/>
                  <a:pt x="843725" y="952214"/>
                  <a:pt x="865251" y="842201"/>
                </a:cubicBezTo>
                <a:lnTo>
                  <a:pt x="872681" y="803529"/>
                </a:lnTo>
                <a:cubicBezTo>
                  <a:pt x="874776" y="789718"/>
                  <a:pt x="876967" y="777812"/>
                  <a:pt x="876967" y="767144"/>
                </a:cubicBezTo>
                <a:cubicBezTo>
                  <a:pt x="876967" y="689991"/>
                  <a:pt x="807434" y="676180"/>
                  <a:pt x="721805" y="676180"/>
                </a:cubicBezTo>
                <a:lnTo>
                  <a:pt x="687610" y="676180"/>
                </a:lnTo>
                <a:cubicBezTo>
                  <a:pt x="678847" y="676180"/>
                  <a:pt x="675704" y="657892"/>
                  <a:pt x="675704" y="638747"/>
                </a:cubicBezTo>
                <a:cubicBezTo>
                  <a:pt x="675704" y="611981"/>
                  <a:pt x="683324" y="591598"/>
                  <a:pt x="705707" y="591598"/>
                </a:cubicBezTo>
                <a:lnTo>
                  <a:pt x="725043" y="591598"/>
                </a:lnTo>
                <a:cubicBezTo>
                  <a:pt x="824484" y="591598"/>
                  <a:pt x="912209" y="564833"/>
                  <a:pt x="928402" y="479203"/>
                </a:cubicBezTo>
                <a:lnTo>
                  <a:pt x="932688" y="456914"/>
                </a:lnTo>
                <a:cubicBezTo>
                  <a:pt x="935831" y="443960"/>
                  <a:pt x="936974" y="431197"/>
                  <a:pt x="936974" y="420338"/>
                </a:cubicBezTo>
                <a:cubicBezTo>
                  <a:pt x="936974" y="358331"/>
                  <a:pt x="888968" y="339185"/>
                  <a:pt x="786098" y="339185"/>
                </a:cubicBezTo>
                <a:cubicBezTo>
                  <a:pt x="751904" y="339185"/>
                  <a:pt x="718757" y="342424"/>
                  <a:pt x="644747" y="350901"/>
                </a:cubicBezTo>
                <a:cubicBezTo>
                  <a:pt x="634175" y="350901"/>
                  <a:pt x="628840" y="327279"/>
                  <a:pt x="628840" y="307086"/>
                </a:cubicBezTo>
                <a:cubicBezTo>
                  <a:pt x="628840" y="300514"/>
                  <a:pt x="628840" y="296228"/>
                  <a:pt x="629888" y="290894"/>
                </a:cubicBezTo>
                <a:cubicBezTo>
                  <a:pt x="635222" y="265176"/>
                  <a:pt x="750761" y="257747"/>
                  <a:pt x="826675" y="257747"/>
                </a:cubicBezTo>
                <a:cubicBezTo>
                  <a:pt x="957358" y="257747"/>
                  <a:pt x="1035558" y="289846"/>
                  <a:pt x="1035558" y="393764"/>
                </a:cubicBezTo>
                <a:cubicBezTo>
                  <a:pt x="1035558" y="410813"/>
                  <a:pt x="1033272" y="430149"/>
                  <a:pt x="1028986" y="452438"/>
                </a:cubicBezTo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80447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553EFC-09EE-56DE-CC83-6618FE9E65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60CE18D-C8DD-17D9-A820-AF9DF0D7F5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2D5EEA-4D72-4105-5203-AAEFCF54F5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D3BF854-986C-D663-B160-5278DA40671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FE21B91-EE18-A231-60F4-CB5EFB2759F0}"/>
              </a:ext>
            </a:extLst>
          </p:cNvPr>
          <p:cNvGrpSpPr/>
          <p:nvPr userDrawn="1"/>
        </p:nvGrpSpPr>
        <p:grpSpPr>
          <a:xfrm>
            <a:off x="3520939" y="1823298"/>
            <a:ext cx="5008573" cy="4558260"/>
            <a:chOff x="334899" y="2042208"/>
            <a:chExt cx="5008573" cy="4558260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24360D25-A583-A97C-80F1-E98B33FA887F}"/>
                </a:ext>
              </a:extLst>
            </p:cNvPr>
            <p:cNvSpPr txBox="1"/>
            <p:nvPr/>
          </p:nvSpPr>
          <p:spPr>
            <a:xfrm>
              <a:off x="869537" y="2321004"/>
              <a:ext cx="2237362" cy="984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>
                  <a:solidFill>
                    <a:schemeClr val="bg1"/>
                  </a:solidFill>
                  <a:latin typeface="Overpass" pitchFamily="2" charset="0"/>
                </a:rPr>
                <a:t>Qualifiziertes </a:t>
              </a:r>
            </a:p>
            <a:p>
              <a:pPr algn="ctr"/>
              <a:r>
                <a:rPr lang="de-DE" sz="1400" b="1">
                  <a:solidFill>
                    <a:schemeClr val="bg1"/>
                  </a:solidFill>
                  <a:latin typeface="Overpass" pitchFamily="2" charset="0"/>
                </a:rPr>
                <a:t>Personal</a:t>
              </a:r>
            </a:p>
            <a:p>
              <a:pPr algn="ctr"/>
              <a:r>
                <a:rPr lang="de-DE" sz="1200">
                  <a:solidFill>
                    <a:schemeClr val="bg1"/>
                  </a:solidFill>
                  <a:latin typeface="Overpass" pitchFamily="2" charset="0"/>
                  <a:cs typeface="Calibri" panose="020F0502020204030204" pitchFamily="34" charset="0"/>
                </a:rPr>
                <a:t>mit Erfahrung im Feld</a:t>
              </a:r>
            </a:p>
            <a:p>
              <a:endParaRPr lang="de-DE">
                <a:latin typeface="Overpass" pitchFamily="2" charset="0"/>
              </a:endParaRPr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322E37D1-9DFA-52CC-980B-1E39593A9DA0}"/>
                </a:ext>
              </a:extLst>
            </p:cNvPr>
            <p:cNvSpPr txBox="1"/>
            <p:nvPr/>
          </p:nvSpPr>
          <p:spPr>
            <a:xfrm>
              <a:off x="2900217" y="2042208"/>
              <a:ext cx="1568749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>
                  <a:solidFill>
                    <a:schemeClr val="bg1"/>
                  </a:solidFill>
                  <a:latin typeface="Overpass" pitchFamily="2" charset="0"/>
                </a:rPr>
                <a:t>MRU-</a:t>
              </a:r>
              <a:br>
                <a:rPr lang="de-DE" sz="1400" b="1">
                  <a:solidFill>
                    <a:schemeClr val="bg1"/>
                  </a:solidFill>
                  <a:latin typeface="Overpass" pitchFamily="2" charset="0"/>
                </a:rPr>
              </a:br>
              <a:r>
                <a:rPr lang="de-DE" sz="1400" b="1">
                  <a:solidFill>
                    <a:schemeClr val="bg1"/>
                  </a:solidFill>
                  <a:latin typeface="Overpass" pitchFamily="2" charset="0"/>
                </a:rPr>
                <a:t>erfahrene</a:t>
              </a:r>
            </a:p>
            <a:p>
              <a:pPr algn="ctr"/>
              <a:r>
                <a:rPr lang="de-DE" sz="1400" b="1">
                  <a:solidFill>
                    <a:schemeClr val="bg1"/>
                  </a:solidFill>
                  <a:latin typeface="Overpass" pitchFamily="2" charset="0"/>
                </a:rPr>
                <a:t>Projektleiter</a:t>
              </a:r>
            </a:p>
            <a:p>
              <a:pPr algn="ctr"/>
              <a:r>
                <a:rPr lang="de-DE" sz="1200">
                  <a:solidFill>
                    <a:schemeClr val="bg1"/>
                  </a:solidFill>
                  <a:latin typeface="Overpass" pitchFamily="2" charset="0"/>
                  <a:cs typeface="Calibri" panose="020F0502020204030204" pitchFamily="34" charset="0"/>
                </a:rPr>
                <a:t>Direkte </a:t>
              </a:r>
            </a:p>
            <a:p>
              <a:pPr algn="ctr"/>
              <a:r>
                <a:rPr lang="de-DE" sz="1200">
                  <a:solidFill>
                    <a:schemeClr val="bg1"/>
                  </a:solidFill>
                  <a:latin typeface="Overpass" pitchFamily="2" charset="0"/>
                  <a:cs typeface="Calibri" panose="020F0502020204030204" pitchFamily="34" charset="0"/>
                </a:rPr>
                <a:t>Ansprechpartner</a:t>
              </a:r>
            </a:p>
            <a:p>
              <a:pPr algn="ctr"/>
              <a:r>
                <a:rPr lang="de-DE" sz="1200">
                  <a:solidFill>
                    <a:schemeClr val="bg1"/>
                  </a:solidFill>
                  <a:latin typeface="Overpass" pitchFamily="2" charset="0"/>
                  <a:cs typeface="Calibri" panose="020F0502020204030204" pitchFamily="34" charset="0"/>
                </a:rPr>
                <a:t> vor Ort</a:t>
              </a:r>
            </a:p>
            <a:p>
              <a:endParaRPr lang="de-DE">
                <a:latin typeface="Overpass" pitchFamily="2" charset="0"/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C2B4911D-84D5-6DCC-5488-B8AE49085140}"/>
                </a:ext>
              </a:extLst>
            </p:cNvPr>
            <p:cNvSpPr txBox="1"/>
            <p:nvPr/>
          </p:nvSpPr>
          <p:spPr>
            <a:xfrm>
              <a:off x="334899" y="3737845"/>
              <a:ext cx="1604737" cy="13542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>
                  <a:solidFill>
                    <a:schemeClr val="bg1"/>
                  </a:solidFill>
                  <a:latin typeface="Overpass" pitchFamily="2" charset="0"/>
                </a:rPr>
                <a:t>Technischer</a:t>
              </a:r>
            </a:p>
            <a:p>
              <a:pPr algn="ctr"/>
              <a:r>
                <a:rPr lang="de-DE" sz="1400" b="1">
                  <a:solidFill>
                    <a:schemeClr val="bg1"/>
                  </a:solidFill>
                  <a:latin typeface="Overpass" pitchFamily="2" charset="0"/>
                </a:rPr>
                <a:t>Support</a:t>
              </a:r>
            </a:p>
            <a:p>
              <a:pPr algn="ctr"/>
              <a:r>
                <a:rPr lang="de-DE" sz="1200">
                  <a:solidFill>
                    <a:schemeClr val="bg1"/>
                  </a:solidFill>
                  <a:latin typeface="Overpass" pitchFamily="2" charset="0"/>
                  <a:cs typeface="Calibri" panose="020F0502020204030204" pitchFamily="34" charset="0"/>
                </a:rPr>
                <a:t>Als Unterstützung </a:t>
              </a:r>
            </a:p>
            <a:p>
              <a:pPr algn="ctr"/>
              <a:r>
                <a:rPr lang="de-DE" sz="1200">
                  <a:solidFill>
                    <a:schemeClr val="bg1"/>
                  </a:solidFill>
                  <a:latin typeface="Overpass" pitchFamily="2" charset="0"/>
                  <a:cs typeface="Calibri" panose="020F0502020204030204" pitchFamily="34" charset="0"/>
                </a:rPr>
                <a:t>für die Monteure </a:t>
              </a:r>
            </a:p>
            <a:p>
              <a:pPr algn="ctr"/>
              <a:r>
                <a:rPr lang="de-DE" sz="1200">
                  <a:solidFill>
                    <a:schemeClr val="bg1"/>
                  </a:solidFill>
                  <a:latin typeface="Overpass" pitchFamily="2" charset="0"/>
                  <a:cs typeface="Calibri" panose="020F0502020204030204" pitchFamily="34" charset="0"/>
                </a:rPr>
                <a:t>vor Ort</a:t>
              </a:r>
            </a:p>
            <a:p>
              <a:endParaRPr lang="de-DE">
                <a:latin typeface="Overpass" pitchFamily="2" charset="0"/>
              </a:endParaRP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23098C22-17BC-8DB9-EF9F-8A73D4B3C8C8}"/>
                </a:ext>
              </a:extLst>
            </p:cNvPr>
            <p:cNvSpPr txBox="1"/>
            <p:nvPr/>
          </p:nvSpPr>
          <p:spPr>
            <a:xfrm>
              <a:off x="2063901" y="3758753"/>
              <a:ext cx="1604737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>
                  <a:solidFill>
                    <a:schemeClr val="bg1"/>
                  </a:solidFill>
                  <a:latin typeface="Overpass" pitchFamily="2" charset="0"/>
                </a:rPr>
                <a:t>Praxiserprobte</a:t>
              </a:r>
            </a:p>
            <a:p>
              <a:pPr algn="ctr"/>
              <a:r>
                <a:rPr lang="de-DE" sz="1400" b="1">
                  <a:solidFill>
                    <a:schemeClr val="bg1"/>
                  </a:solidFill>
                  <a:latin typeface="Overpass" pitchFamily="2" charset="0"/>
                </a:rPr>
                <a:t>Prozesse</a:t>
              </a:r>
            </a:p>
            <a:p>
              <a:pPr algn="ctr"/>
              <a:r>
                <a:rPr lang="de-DE" sz="1200">
                  <a:solidFill>
                    <a:schemeClr val="bg1"/>
                  </a:solidFill>
                  <a:latin typeface="Overpass" pitchFamily="2" charset="0"/>
                  <a:cs typeface="Calibri" panose="020F0502020204030204" pitchFamily="34" charset="0"/>
                </a:rPr>
                <a:t>In Erhebung und Anpassung</a:t>
              </a:r>
            </a:p>
            <a:p>
              <a:endParaRPr lang="de-DE">
                <a:latin typeface="Overpass" pitchFamily="2" charset="0"/>
              </a:endParaRPr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9F3AC8BC-B63C-8CCC-320F-35A293A5ED58}"/>
                </a:ext>
              </a:extLst>
            </p:cNvPr>
            <p:cNvSpPr txBox="1"/>
            <p:nvPr/>
          </p:nvSpPr>
          <p:spPr>
            <a:xfrm>
              <a:off x="3738735" y="3747972"/>
              <a:ext cx="1604737" cy="13542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>
                  <a:solidFill>
                    <a:schemeClr val="bg1"/>
                  </a:solidFill>
                  <a:latin typeface="Overpass" pitchFamily="2" charset="0"/>
                </a:rPr>
                <a:t>Ressourcen-</a:t>
              </a:r>
            </a:p>
            <a:p>
              <a:pPr algn="ctr"/>
              <a:r>
                <a:rPr lang="de-DE" sz="1400" b="1" err="1">
                  <a:solidFill>
                    <a:schemeClr val="bg1"/>
                  </a:solidFill>
                  <a:latin typeface="Overpass" pitchFamily="2" charset="0"/>
                </a:rPr>
                <a:t>planung</a:t>
              </a:r>
              <a:endParaRPr lang="de-DE" sz="1400" b="1">
                <a:solidFill>
                  <a:schemeClr val="bg1"/>
                </a:solidFill>
                <a:latin typeface="Overpass" pitchFamily="2" charset="0"/>
              </a:endParaRPr>
            </a:p>
            <a:p>
              <a:pPr algn="ctr"/>
              <a:r>
                <a:rPr lang="de-DE" sz="1200">
                  <a:solidFill>
                    <a:schemeClr val="bg1"/>
                  </a:solidFill>
                  <a:latin typeface="Overpass" pitchFamily="2" charset="0"/>
                  <a:cs typeface="Calibri" panose="020F0502020204030204" pitchFamily="34" charset="0"/>
                </a:rPr>
                <a:t>über mehrere Jahre unter Einbindung aller Projekte</a:t>
              </a:r>
            </a:p>
            <a:p>
              <a:endParaRPr lang="de-DE">
                <a:latin typeface="Overpass" pitchFamily="2" charset="0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1643F0BE-3A4E-F3D4-B829-7B1128F443A8}"/>
                </a:ext>
              </a:extLst>
            </p:cNvPr>
            <p:cNvSpPr txBox="1"/>
            <p:nvPr/>
          </p:nvSpPr>
          <p:spPr>
            <a:xfrm>
              <a:off x="1207388" y="5215473"/>
              <a:ext cx="1581168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>
                  <a:solidFill>
                    <a:schemeClr val="bg1"/>
                  </a:solidFill>
                  <a:latin typeface="Overpass" pitchFamily="2" charset="0"/>
                </a:rPr>
                <a:t>Zusätzliche</a:t>
              </a:r>
            </a:p>
            <a:p>
              <a:pPr algn="ctr"/>
              <a:r>
                <a:rPr lang="de-DE" sz="1400" b="1">
                  <a:solidFill>
                    <a:schemeClr val="bg1"/>
                  </a:solidFill>
                  <a:latin typeface="Overpass" pitchFamily="2" charset="0"/>
                </a:rPr>
                <a:t>Geräte-techniker</a:t>
              </a:r>
            </a:p>
            <a:p>
              <a:pPr algn="ctr"/>
              <a:r>
                <a:rPr lang="de-DE" sz="1200">
                  <a:solidFill>
                    <a:schemeClr val="bg1"/>
                  </a:solidFill>
                  <a:latin typeface="Overpass" pitchFamily="2" charset="0"/>
                  <a:cs typeface="Calibri" panose="020F0502020204030204" pitchFamily="34" charset="0"/>
                </a:rPr>
                <a:t>Als Unterstützung </a:t>
              </a:r>
            </a:p>
            <a:p>
              <a:pPr algn="ctr"/>
              <a:r>
                <a:rPr lang="de-DE" sz="1200">
                  <a:solidFill>
                    <a:schemeClr val="bg1"/>
                  </a:solidFill>
                  <a:latin typeface="Overpass" pitchFamily="2" charset="0"/>
                  <a:cs typeface="Calibri" panose="020F0502020204030204" pitchFamily="34" charset="0"/>
                </a:rPr>
                <a:t>der Projektleiter</a:t>
              </a:r>
            </a:p>
            <a:p>
              <a:endParaRPr lang="de-DE">
                <a:latin typeface="Overpass" pitchFamily="2" charset="0"/>
              </a:endParaRP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816A0DF8-B7EF-444A-CFE6-1883ABE35706}"/>
                </a:ext>
              </a:extLst>
            </p:cNvPr>
            <p:cNvSpPr txBox="1"/>
            <p:nvPr/>
          </p:nvSpPr>
          <p:spPr>
            <a:xfrm>
              <a:off x="2809890" y="5215173"/>
              <a:ext cx="1842080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>
                  <a:solidFill>
                    <a:schemeClr val="bg1"/>
                  </a:solidFill>
                  <a:latin typeface="Overpass" pitchFamily="2" charset="0"/>
                </a:rPr>
                <a:t>Projektleiter</a:t>
              </a:r>
            </a:p>
            <a:p>
              <a:pPr algn="ctr"/>
              <a:r>
                <a:rPr lang="de-DE" sz="1400" b="1">
                  <a:solidFill>
                    <a:schemeClr val="bg1"/>
                  </a:solidFill>
                  <a:latin typeface="Overpass" pitchFamily="2" charset="0"/>
                </a:rPr>
                <a:t>und</a:t>
              </a:r>
            </a:p>
            <a:p>
              <a:pPr algn="ctr"/>
              <a:r>
                <a:rPr lang="de-DE" sz="1400" b="1">
                  <a:solidFill>
                    <a:schemeClr val="bg1"/>
                  </a:solidFill>
                  <a:latin typeface="Overpass" pitchFamily="2" charset="0"/>
                </a:rPr>
                <a:t>Monteure</a:t>
              </a:r>
            </a:p>
            <a:p>
              <a:pPr algn="ctr"/>
              <a:r>
                <a:rPr lang="de-DE" sz="1200">
                  <a:solidFill>
                    <a:schemeClr val="bg1"/>
                  </a:solidFill>
                  <a:latin typeface="Overpass" pitchFamily="2" charset="0"/>
                  <a:cs typeface="Calibri" panose="020F0502020204030204" pitchFamily="34" charset="0"/>
                </a:rPr>
                <a:t>gemäß DVGW G 106 qualifiziert</a:t>
              </a:r>
            </a:p>
          </p:txBody>
        </p:sp>
      </p:grpSp>
      <p:sp>
        <p:nvSpPr>
          <p:cNvPr id="17" name="Grafik 15">
            <a:extLst>
              <a:ext uri="{FF2B5EF4-FFF2-40B4-BE49-F238E27FC236}">
                <a16:creationId xmlns:a16="http://schemas.microsoft.com/office/drawing/2014/main" id="{63A7A69F-21E3-8305-24C7-96BA4BC2B5C3}"/>
              </a:ext>
            </a:extLst>
          </p:cNvPr>
          <p:cNvSpPr/>
          <p:nvPr/>
        </p:nvSpPr>
        <p:spPr>
          <a:xfrm>
            <a:off x="4382584" y="1664462"/>
            <a:ext cx="1641955" cy="1895980"/>
          </a:xfrm>
          <a:custGeom>
            <a:avLst/>
            <a:gdLst>
              <a:gd name="connsiteX0" fmla="*/ 1230725 w 1230725"/>
              <a:gd name="connsiteY0" fmla="*/ 1065848 h 1421129"/>
              <a:gd name="connsiteX1" fmla="*/ 1230725 w 1230725"/>
              <a:gd name="connsiteY1" fmla="*/ 355283 h 1421129"/>
              <a:gd name="connsiteX2" fmla="*/ 615410 w 1230725"/>
              <a:gd name="connsiteY2" fmla="*/ 0 h 1421129"/>
              <a:gd name="connsiteX3" fmla="*/ 0 w 1230725"/>
              <a:gd name="connsiteY3" fmla="*/ 355283 h 1421129"/>
              <a:gd name="connsiteX4" fmla="*/ 0 w 1230725"/>
              <a:gd name="connsiteY4" fmla="*/ 1065848 h 1421129"/>
              <a:gd name="connsiteX5" fmla="*/ 615410 w 1230725"/>
              <a:gd name="connsiteY5" fmla="*/ 1421130 h 1421129"/>
              <a:gd name="connsiteX6" fmla="*/ 1230725 w 1230725"/>
              <a:gd name="connsiteY6" fmla="*/ 1065848 h 1421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30725" h="1421129">
                <a:moveTo>
                  <a:pt x="1230725" y="1065848"/>
                </a:moveTo>
                <a:lnTo>
                  <a:pt x="1230725" y="355283"/>
                </a:lnTo>
                <a:lnTo>
                  <a:pt x="615410" y="0"/>
                </a:lnTo>
                <a:lnTo>
                  <a:pt x="0" y="355283"/>
                </a:lnTo>
                <a:lnTo>
                  <a:pt x="0" y="1065848"/>
                </a:lnTo>
                <a:lnTo>
                  <a:pt x="615410" y="1421130"/>
                </a:lnTo>
                <a:lnTo>
                  <a:pt x="1230725" y="1065848"/>
                </a:lnTo>
                <a:close/>
              </a:path>
            </a:pathLst>
          </a:custGeom>
          <a:solidFill>
            <a:srgbClr val="6DC4C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8" name="Grafik 15">
            <a:extLst>
              <a:ext uri="{FF2B5EF4-FFF2-40B4-BE49-F238E27FC236}">
                <a16:creationId xmlns:a16="http://schemas.microsoft.com/office/drawing/2014/main" id="{8A9E6D41-D486-1050-6359-8707FF572230}"/>
              </a:ext>
            </a:extLst>
          </p:cNvPr>
          <p:cNvSpPr/>
          <p:nvPr userDrawn="1"/>
        </p:nvSpPr>
        <p:spPr>
          <a:xfrm>
            <a:off x="6158206" y="1664462"/>
            <a:ext cx="1641955" cy="1895980"/>
          </a:xfrm>
          <a:custGeom>
            <a:avLst/>
            <a:gdLst>
              <a:gd name="connsiteX0" fmla="*/ 1230725 w 1230725"/>
              <a:gd name="connsiteY0" fmla="*/ 1065848 h 1421129"/>
              <a:gd name="connsiteX1" fmla="*/ 1230725 w 1230725"/>
              <a:gd name="connsiteY1" fmla="*/ 355283 h 1421129"/>
              <a:gd name="connsiteX2" fmla="*/ 615410 w 1230725"/>
              <a:gd name="connsiteY2" fmla="*/ 0 h 1421129"/>
              <a:gd name="connsiteX3" fmla="*/ 0 w 1230725"/>
              <a:gd name="connsiteY3" fmla="*/ 355283 h 1421129"/>
              <a:gd name="connsiteX4" fmla="*/ 0 w 1230725"/>
              <a:gd name="connsiteY4" fmla="*/ 1065848 h 1421129"/>
              <a:gd name="connsiteX5" fmla="*/ 615410 w 1230725"/>
              <a:gd name="connsiteY5" fmla="*/ 1421130 h 1421129"/>
              <a:gd name="connsiteX6" fmla="*/ 1230725 w 1230725"/>
              <a:gd name="connsiteY6" fmla="*/ 1065848 h 1421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30725" h="1421129">
                <a:moveTo>
                  <a:pt x="1230725" y="1065848"/>
                </a:moveTo>
                <a:lnTo>
                  <a:pt x="1230725" y="355283"/>
                </a:lnTo>
                <a:lnTo>
                  <a:pt x="615410" y="0"/>
                </a:lnTo>
                <a:lnTo>
                  <a:pt x="0" y="355283"/>
                </a:lnTo>
                <a:lnTo>
                  <a:pt x="0" y="1065848"/>
                </a:lnTo>
                <a:lnTo>
                  <a:pt x="615410" y="1421130"/>
                </a:lnTo>
                <a:lnTo>
                  <a:pt x="1230725" y="1065848"/>
                </a:lnTo>
                <a:close/>
              </a:path>
            </a:pathLst>
          </a:custGeom>
          <a:solidFill>
            <a:srgbClr val="6DC4C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9" name="Grafik 15">
            <a:extLst>
              <a:ext uri="{FF2B5EF4-FFF2-40B4-BE49-F238E27FC236}">
                <a16:creationId xmlns:a16="http://schemas.microsoft.com/office/drawing/2014/main" id="{089D261D-DA1E-2A7D-7779-91C21097F8BF}"/>
              </a:ext>
            </a:extLst>
          </p:cNvPr>
          <p:cNvSpPr/>
          <p:nvPr userDrawn="1"/>
        </p:nvSpPr>
        <p:spPr>
          <a:xfrm>
            <a:off x="7047000" y="3198317"/>
            <a:ext cx="1641955" cy="1895980"/>
          </a:xfrm>
          <a:custGeom>
            <a:avLst/>
            <a:gdLst>
              <a:gd name="connsiteX0" fmla="*/ 1230725 w 1230725"/>
              <a:gd name="connsiteY0" fmla="*/ 1065848 h 1421129"/>
              <a:gd name="connsiteX1" fmla="*/ 1230725 w 1230725"/>
              <a:gd name="connsiteY1" fmla="*/ 355283 h 1421129"/>
              <a:gd name="connsiteX2" fmla="*/ 615410 w 1230725"/>
              <a:gd name="connsiteY2" fmla="*/ 0 h 1421129"/>
              <a:gd name="connsiteX3" fmla="*/ 0 w 1230725"/>
              <a:gd name="connsiteY3" fmla="*/ 355283 h 1421129"/>
              <a:gd name="connsiteX4" fmla="*/ 0 w 1230725"/>
              <a:gd name="connsiteY4" fmla="*/ 1065848 h 1421129"/>
              <a:gd name="connsiteX5" fmla="*/ 615410 w 1230725"/>
              <a:gd name="connsiteY5" fmla="*/ 1421130 h 1421129"/>
              <a:gd name="connsiteX6" fmla="*/ 1230725 w 1230725"/>
              <a:gd name="connsiteY6" fmla="*/ 1065848 h 1421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30725" h="1421129">
                <a:moveTo>
                  <a:pt x="1230725" y="1065848"/>
                </a:moveTo>
                <a:lnTo>
                  <a:pt x="1230725" y="355283"/>
                </a:lnTo>
                <a:lnTo>
                  <a:pt x="615410" y="0"/>
                </a:lnTo>
                <a:lnTo>
                  <a:pt x="0" y="355283"/>
                </a:lnTo>
                <a:lnTo>
                  <a:pt x="0" y="1065848"/>
                </a:lnTo>
                <a:lnTo>
                  <a:pt x="615410" y="1421130"/>
                </a:lnTo>
                <a:lnTo>
                  <a:pt x="1230725" y="1065848"/>
                </a:lnTo>
                <a:close/>
              </a:path>
            </a:pathLst>
          </a:custGeom>
          <a:solidFill>
            <a:srgbClr val="6DC4C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0" name="Grafik 15">
            <a:extLst>
              <a:ext uri="{FF2B5EF4-FFF2-40B4-BE49-F238E27FC236}">
                <a16:creationId xmlns:a16="http://schemas.microsoft.com/office/drawing/2014/main" id="{2CFF30F0-D115-56CB-7016-18C5FF15F730}"/>
              </a:ext>
            </a:extLst>
          </p:cNvPr>
          <p:cNvSpPr/>
          <p:nvPr userDrawn="1"/>
        </p:nvSpPr>
        <p:spPr>
          <a:xfrm>
            <a:off x="6164693" y="4717936"/>
            <a:ext cx="1641955" cy="1895980"/>
          </a:xfrm>
          <a:custGeom>
            <a:avLst/>
            <a:gdLst>
              <a:gd name="connsiteX0" fmla="*/ 1230725 w 1230725"/>
              <a:gd name="connsiteY0" fmla="*/ 1065848 h 1421129"/>
              <a:gd name="connsiteX1" fmla="*/ 1230725 w 1230725"/>
              <a:gd name="connsiteY1" fmla="*/ 355283 h 1421129"/>
              <a:gd name="connsiteX2" fmla="*/ 615410 w 1230725"/>
              <a:gd name="connsiteY2" fmla="*/ 0 h 1421129"/>
              <a:gd name="connsiteX3" fmla="*/ 0 w 1230725"/>
              <a:gd name="connsiteY3" fmla="*/ 355283 h 1421129"/>
              <a:gd name="connsiteX4" fmla="*/ 0 w 1230725"/>
              <a:gd name="connsiteY4" fmla="*/ 1065848 h 1421129"/>
              <a:gd name="connsiteX5" fmla="*/ 615410 w 1230725"/>
              <a:gd name="connsiteY5" fmla="*/ 1421130 h 1421129"/>
              <a:gd name="connsiteX6" fmla="*/ 1230725 w 1230725"/>
              <a:gd name="connsiteY6" fmla="*/ 1065848 h 1421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30725" h="1421129">
                <a:moveTo>
                  <a:pt x="1230725" y="1065848"/>
                </a:moveTo>
                <a:lnTo>
                  <a:pt x="1230725" y="355283"/>
                </a:lnTo>
                <a:lnTo>
                  <a:pt x="615410" y="0"/>
                </a:lnTo>
                <a:lnTo>
                  <a:pt x="0" y="355283"/>
                </a:lnTo>
                <a:lnTo>
                  <a:pt x="0" y="1065848"/>
                </a:lnTo>
                <a:lnTo>
                  <a:pt x="615410" y="1421130"/>
                </a:lnTo>
                <a:lnTo>
                  <a:pt x="1230725" y="1065848"/>
                </a:lnTo>
                <a:close/>
              </a:path>
            </a:pathLst>
          </a:custGeom>
          <a:solidFill>
            <a:srgbClr val="6DC4C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1" name="Grafik 15">
            <a:extLst>
              <a:ext uri="{FF2B5EF4-FFF2-40B4-BE49-F238E27FC236}">
                <a16:creationId xmlns:a16="http://schemas.microsoft.com/office/drawing/2014/main" id="{E5BABB2B-AC22-D606-B594-A56F05EBE247}"/>
              </a:ext>
            </a:extLst>
          </p:cNvPr>
          <p:cNvSpPr/>
          <p:nvPr userDrawn="1"/>
        </p:nvSpPr>
        <p:spPr>
          <a:xfrm>
            <a:off x="4400513" y="4711237"/>
            <a:ext cx="1641955" cy="1895980"/>
          </a:xfrm>
          <a:custGeom>
            <a:avLst/>
            <a:gdLst>
              <a:gd name="connsiteX0" fmla="*/ 1230725 w 1230725"/>
              <a:gd name="connsiteY0" fmla="*/ 1065848 h 1421129"/>
              <a:gd name="connsiteX1" fmla="*/ 1230725 w 1230725"/>
              <a:gd name="connsiteY1" fmla="*/ 355283 h 1421129"/>
              <a:gd name="connsiteX2" fmla="*/ 615410 w 1230725"/>
              <a:gd name="connsiteY2" fmla="*/ 0 h 1421129"/>
              <a:gd name="connsiteX3" fmla="*/ 0 w 1230725"/>
              <a:gd name="connsiteY3" fmla="*/ 355283 h 1421129"/>
              <a:gd name="connsiteX4" fmla="*/ 0 w 1230725"/>
              <a:gd name="connsiteY4" fmla="*/ 1065848 h 1421129"/>
              <a:gd name="connsiteX5" fmla="*/ 615410 w 1230725"/>
              <a:gd name="connsiteY5" fmla="*/ 1421130 h 1421129"/>
              <a:gd name="connsiteX6" fmla="*/ 1230725 w 1230725"/>
              <a:gd name="connsiteY6" fmla="*/ 1065848 h 1421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30725" h="1421129">
                <a:moveTo>
                  <a:pt x="1230725" y="1065848"/>
                </a:moveTo>
                <a:lnTo>
                  <a:pt x="1230725" y="355283"/>
                </a:lnTo>
                <a:lnTo>
                  <a:pt x="615410" y="0"/>
                </a:lnTo>
                <a:lnTo>
                  <a:pt x="0" y="355283"/>
                </a:lnTo>
                <a:lnTo>
                  <a:pt x="0" y="1065848"/>
                </a:lnTo>
                <a:lnTo>
                  <a:pt x="615410" y="1421130"/>
                </a:lnTo>
                <a:lnTo>
                  <a:pt x="1230725" y="1065848"/>
                </a:lnTo>
                <a:close/>
              </a:path>
            </a:pathLst>
          </a:custGeom>
          <a:solidFill>
            <a:srgbClr val="6DC4C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2" name="Grafik 15">
            <a:extLst>
              <a:ext uri="{FF2B5EF4-FFF2-40B4-BE49-F238E27FC236}">
                <a16:creationId xmlns:a16="http://schemas.microsoft.com/office/drawing/2014/main" id="{36249A0B-CB33-5316-4F8E-2876427ADED1}"/>
              </a:ext>
            </a:extLst>
          </p:cNvPr>
          <p:cNvSpPr/>
          <p:nvPr userDrawn="1"/>
        </p:nvSpPr>
        <p:spPr>
          <a:xfrm>
            <a:off x="3530748" y="3198317"/>
            <a:ext cx="1641955" cy="1895980"/>
          </a:xfrm>
          <a:custGeom>
            <a:avLst/>
            <a:gdLst>
              <a:gd name="connsiteX0" fmla="*/ 1230725 w 1230725"/>
              <a:gd name="connsiteY0" fmla="*/ 1065848 h 1421129"/>
              <a:gd name="connsiteX1" fmla="*/ 1230725 w 1230725"/>
              <a:gd name="connsiteY1" fmla="*/ 355283 h 1421129"/>
              <a:gd name="connsiteX2" fmla="*/ 615410 w 1230725"/>
              <a:gd name="connsiteY2" fmla="*/ 0 h 1421129"/>
              <a:gd name="connsiteX3" fmla="*/ 0 w 1230725"/>
              <a:gd name="connsiteY3" fmla="*/ 355283 h 1421129"/>
              <a:gd name="connsiteX4" fmla="*/ 0 w 1230725"/>
              <a:gd name="connsiteY4" fmla="*/ 1065848 h 1421129"/>
              <a:gd name="connsiteX5" fmla="*/ 615410 w 1230725"/>
              <a:gd name="connsiteY5" fmla="*/ 1421130 h 1421129"/>
              <a:gd name="connsiteX6" fmla="*/ 1230725 w 1230725"/>
              <a:gd name="connsiteY6" fmla="*/ 1065848 h 1421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30725" h="1421129">
                <a:moveTo>
                  <a:pt x="1230725" y="1065848"/>
                </a:moveTo>
                <a:lnTo>
                  <a:pt x="1230725" y="355283"/>
                </a:lnTo>
                <a:lnTo>
                  <a:pt x="615410" y="0"/>
                </a:lnTo>
                <a:lnTo>
                  <a:pt x="0" y="355283"/>
                </a:lnTo>
                <a:lnTo>
                  <a:pt x="0" y="1065848"/>
                </a:lnTo>
                <a:lnTo>
                  <a:pt x="615410" y="1421130"/>
                </a:lnTo>
                <a:lnTo>
                  <a:pt x="1230725" y="1065848"/>
                </a:lnTo>
                <a:close/>
              </a:path>
            </a:pathLst>
          </a:custGeom>
          <a:solidFill>
            <a:srgbClr val="6DC4C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5" name="Grafik 15">
            <a:extLst>
              <a:ext uri="{FF2B5EF4-FFF2-40B4-BE49-F238E27FC236}">
                <a16:creationId xmlns:a16="http://schemas.microsoft.com/office/drawing/2014/main" id="{9518AE06-3BC9-464E-7572-2DF8AE21080B}"/>
              </a:ext>
            </a:extLst>
          </p:cNvPr>
          <p:cNvSpPr/>
          <p:nvPr userDrawn="1"/>
        </p:nvSpPr>
        <p:spPr>
          <a:xfrm>
            <a:off x="5283267" y="3198317"/>
            <a:ext cx="1641955" cy="1895980"/>
          </a:xfrm>
          <a:custGeom>
            <a:avLst/>
            <a:gdLst>
              <a:gd name="connsiteX0" fmla="*/ 1230725 w 1230725"/>
              <a:gd name="connsiteY0" fmla="*/ 1065848 h 1421129"/>
              <a:gd name="connsiteX1" fmla="*/ 1230725 w 1230725"/>
              <a:gd name="connsiteY1" fmla="*/ 355283 h 1421129"/>
              <a:gd name="connsiteX2" fmla="*/ 615410 w 1230725"/>
              <a:gd name="connsiteY2" fmla="*/ 0 h 1421129"/>
              <a:gd name="connsiteX3" fmla="*/ 0 w 1230725"/>
              <a:gd name="connsiteY3" fmla="*/ 355283 h 1421129"/>
              <a:gd name="connsiteX4" fmla="*/ 0 w 1230725"/>
              <a:gd name="connsiteY4" fmla="*/ 1065848 h 1421129"/>
              <a:gd name="connsiteX5" fmla="*/ 615410 w 1230725"/>
              <a:gd name="connsiteY5" fmla="*/ 1421130 h 1421129"/>
              <a:gd name="connsiteX6" fmla="*/ 1230725 w 1230725"/>
              <a:gd name="connsiteY6" fmla="*/ 1065848 h 1421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30725" h="1421129">
                <a:moveTo>
                  <a:pt x="1230725" y="1065848"/>
                </a:moveTo>
                <a:lnTo>
                  <a:pt x="1230725" y="355283"/>
                </a:lnTo>
                <a:lnTo>
                  <a:pt x="615410" y="0"/>
                </a:lnTo>
                <a:lnTo>
                  <a:pt x="0" y="355283"/>
                </a:lnTo>
                <a:lnTo>
                  <a:pt x="0" y="1065848"/>
                </a:lnTo>
                <a:lnTo>
                  <a:pt x="615410" y="1421130"/>
                </a:lnTo>
                <a:lnTo>
                  <a:pt x="1230725" y="1065848"/>
                </a:lnTo>
                <a:close/>
              </a:path>
            </a:pathLst>
          </a:custGeom>
          <a:solidFill>
            <a:srgbClr val="D6D6D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6" name="Textplatzhalter 50">
            <a:extLst>
              <a:ext uri="{FF2B5EF4-FFF2-40B4-BE49-F238E27FC236}">
                <a16:creationId xmlns:a16="http://schemas.microsoft.com/office/drawing/2014/main" id="{DB55EF34-C01D-7A35-4505-3D60505000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19123" y="2064528"/>
            <a:ext cx="1356680" cy="355695"/>
          </a:xfrm>
        </p:spPr>
        <p:txBody>
          <a:bodyPr anchor="t" anchorCtr="0">
            <a:norm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27" name="Textplatzhalter 52">
            <a:extLst>
              <a:ext uri="{FF2B5EF4-FFF2-40B4-BE49-F238E27FC236}">
                <a16:creationId xmlns:a16="http://schemas.microsoft.com/office/drawing/2014/main" id="{51C9B7B4-2DE9-F3D1-5F3E-EBE55C5C53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19123" y="2463990"/>
            <a:ext cx="1356680" cy="724639"/>
          </a:xfrm>
        </p:spPr>
        <p:txBody>
          <a:bodyPr anchor="ctr">
            <a:normAutofit/>
          </a:bodyPr>
          <a:lstStyle>
            <a:lvl1pPr algn="ctr"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50">
            <a:extLst>
              <a:ext uri="{FF2B5EF4-FFF2-40B4-BE49-F238E27FC236}">
                <a16:creationId xmlns:a16="http://schemas.microsoft.com/office/drawing/2014/main" id="{ECBC86AC-82CA-9F11-50BA-0F2E21F5C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22523" y="2064528"/>
            <a:ext cx="1356680" cy="355695"/>
          </a:xfrm>
        </p:spPr>
        <p:txBody>
          <a:bodyPr anchor="t" anchorCtr="0">
            <a:norm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29" name="Textplatzhalter 52">
            <a:extLst>
              <a:ext uri="{FF2B5EF4-FFF2-40B4-BE49-F238E27FC236}">
                <a16:creationId xmlns:a16="http://schemas.microsoft.com/office/drawing/2014/main" id="{F18538CC-62F3-6EDE-462E-C5BA95DD326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22523" y="2463990"/>
            <a:ext cx="1356680" cy="724639"/>
          </a:xfrm>
        </p:spPr>
        <p:txBody>
          <a:bodyPr anchor="ctr">
            <a:normAutofit/>
          </a:bodyPr>
          <a:lstStyle>
            <a:lvl1pPr algn="ctr"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platzhalter 50">
            <a:extLst>
              <a:ext uri="{FF2B5EF4-FFF2-40B4-BE49-F238E27FC236}">
                <a16:creationId xmlns:a16="http://schemas.microsoft.com/office/drawing/2014/main" id="{276A1640-4FA3-D5B1-B208-1BFFEAE3539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19123" y="5110907"/>
            <a:ext cx="1356680" cy="355695"/>
          </a:xfrm>
        </p:spPr>
        <p:txBody>
          <a:bodyPr anchor="t" anchorCtr="0">
            <a:norm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37" name="Textplatzhalter 52">
            <a:extLst>
              <a:ext uri="{FF2B5EF4-FFF2-40B4-BE49-F238E27FC236}">
                <a16:creationId xmlns:a16="http://schemas.microsoft.com/office/drawing/2014/main" id="{A80D1E23-B00B-8EA9-018F-2C86854253E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19123" y="5510369"/>
            <a:ext cx="1356680" cy="724639"/>
          </a:xfrm>
        </p:spPr>
        <p:txBody>
          <a:bodyPr anchor="ctr">
            <a:normAutofit/>
          </a:bodyPr>
          <a:lstStyle>
            <a:lvl1pPr algn="ctr"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8" name="Textplatzhalter 50">
            <a:extLst>
              <a:ext uri="{FF2B5EF4-FFF2-40B4-BE49-F238E27FC236}">
                <a16:creationId xmlns:a16="http://schemas.microsoft.com/office/drawing/2014/main" id="{B8BA2098-E4C4-8584-9467-340BFFA445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22523" y="5110907"/>
            <a:ext cx="1356680" cy="355695"/>
          </a:xfrm>
        </p:spPr>
        <p:txBody>
          <a:bodyPr anchor="t" anchorCtr="0">
            <a:norm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39" name="Textplatzhalter 52">
            <a:extLst>
              <a:ext uri="{FF2B5EF4-FFF2-40B4-BE49-F238E27FC236}">
                <a16:creationId xmlns:a16="http://schemas.microsoft.com/office/drawing/2014/main" id="{36F054ED-4B0D-4761-832B-0079C12FCDC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22523" y="5510369"/>
            <a:ext cx="1356680" cy="724639"/>
          </a:xfrm>
        </p:spPr>
        <p:txBody>
          <a:bodyPr anchor="ctr">
            <a:normAutofit/>
          </a:bodyPr>
          <a:lstStyle>
            <a:lvl1pPr algn="ctr"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Textplatzhalter 50">
            <a:extLst>
              <a:ext uri="{FF2B5EF4-FFF2-40B4-BE49-F238E27FC236}">
                <a16:creationId xmlns:a16="http://schemas.microsoft.com/office/drawing/2014/main" id="{1C82CF06-B548-0C66-EF32-35876508A6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71181" y="3605844"/>
            <a:ext cx="1356680" cy="355695"/>
          </a:xfrm>
        </p:spPr>
        <p:txBody>
          <a:bodyPr anchor="t" anchorCtr="0">
            <a:norm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42" name="Textplatzhalter 52">
            <a:extLst>
              <a:ext uri="{FF2B5EF4-FFF2-40B4-BE49-F238E27FC236}">
                <a16:creationId xmlns:a16="http://schemas.microsoft.com/office/drawing/2014/main" id="{501B379D-71AB-9854-6D00-F716BB6B47D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71181" y="4005306"/>
            <a:ext cx="1356680" cy="724639"/>
          </a:xfrm>
        </p:spPr>
        <p:txBody>
          <a:bodyPr anchor="ctr">
            <a:normAutofit/>
          </a:bodyPr>
          <a:lstStyle>
            <a:lvl1pPr algn="ctr"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50">
            <a:extLst>
              <a:ext uri="{FF2B5EF4-FFF2-40B4-BE49-F238E27FC236}">
                <a16:creationId xmlns:a16="http://schemas.microsoft.com/office/drawing/2014/main" id="{8166EF00-959B-CAC5-4401-EF62EB3F9D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7433" y="3605844"/>
            <a:ext cx="1356680" cy="355695"/>
          </a:xfrm>
        </p:spPr>
        <p:txBody>
          <a:bodyPr anchor="t" anchorCtr="0">
            <a:norm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45" name="Textplatzhalter 52">
            <a:extLst>
              <a:ext uri="{FF2B5EF4-FFF2-40B4-BE49-F238E27FC236}">
                <a16:creationId xmlns:a16="http://schemas.microsoft.com/office/drawing/2014/main" id="{146BA3A3-8140-B44E-74D3-D375EA37D7E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87433" y="4005306"/>
            <a:ext cx="1356680" cy="724639"/>
          </a:xfrm>
        </p:spPr>
        <p:txBody>
          <a:bodyPr anchor="ctr">
            <a:normAutofit/>
          </a:bodyPr>
          <a:lstStyle>
            <a:lvl1pPr algn="ctr"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7" name="Textplatzhalter 50">
            <a:extLst>
              <a:ext uri="{FF2B5EF4-FFF2-40B4-BE49-F238E27FC236}">
                <a16:creationId xmlns:a16="http://schemas.microsoft.com/office/drawing/2014/main" id="{EE2F4044-D47A-9233-8193-AF017A47467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23700" y="3605845"/>
            <a:ext cx="1356680" cy="355694"/>
          </a:xfrm>
        </p:spPr>
        <p:txBody>
          <a:bodyPr anchor="t">
            <a:norm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48" name="Textplatzhalter 52">
            <a:extLst>
              <a:ext uri="{FF2B5EF4-FFF2-40B4-BE49-F238E27FC236}">
                <a16:creationId xmlns:a16="http://schemas.microsoft.com/office/drawing/2014/main" id="{B17B9069-D4D1-CAAF-CC02-D73E75CDD36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423700" y="4005306"/>
            <a:ext cx="1356680" cy="724639"/>
          </a:xfrm>
        </p:spPr>
        <p:txBody>
          <a:bodyPr anchor="ctr">
            <a:normAutofit/>
          </a:bodyPr>
          <a:lstStyle>
            <a:lvl1pPr algn="ctr"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1AC7E1DA-C0BB-0C00-20E8-ABE78216A6D2}"/>
              </a:ext>
            </a:extLst>
          </p:cNvPr>
          <p:cNvGrpSpPr/>
          <p:nvPr userDrawn="1"/>
        </p:nvGrpSpPr>
        <p:grpSpPr>
          <a:xfrm>
            <a:off x="8821328" y="2385766"/>
            <a:ext cx="2787355" cy="2708531"/>
            <a:chOff x="8821328" y="2385766"/>
            <a:chExt cx="2787355" cy="2708531"/>
          </a:xfrm>
        </p:grpSpPr>
        <p:sp>
          <p:nvSpPr>
            <p:cNvPr id="57" name="Grafik 15">
              <a:extLst>
                <a:ext uri="{FF2B5EF4-FFF2-40B4-BE49-F238E27FC236}">
                  <a16:creationId xmlns:a16="http://schemas.microsoft.com/office/drawing/2014/main" id="{18C33C25-1113-BA5F-9105-B2448BC392A6}"/>
                </a:ext>
              </a:extLst>
            </p:cNvPr>
            <p:cNvSpPr/>
            <p:nvPr userDrawn="1"/>
          </p:nvSpPr>
          <p:spPr>
            <a:xfrm>
              <a:off x="8821328" y="3198317"/>
              <a:ext cx="1641955" cy="1895980"/>
            </a:xfrm>
            <a:custGeom>
              <a:avLst/>
              <a:gdLst>
                <a:gd name="connsiteX0" fmla="*/ 1230725 w 1230725"/>
                <a:gd name="connsiteY0" fmla="*/ 1065848 h 1421129"/>
                <a:gd name="connsiteX1" fmla="*/ 1230725 w 1230725"/>
                <a:gd name="connsiteY1" fmla="*/ 355283 h 1421129"/>
                <a:gd name="connsiteX2" fmla="*/ 615410 w 1230725"/>
                <a:gd name="connsiteY2" fmla="*/ 0 h 1421129"/>
                <a:gd name="connsiteX3" fmla="*/ 0 w 1230725"/>
                <a:gd name="connsiteY3" fmla="*/ 355283 h 1421129"/>
                <a:gd name="connsiteX4" fmla="*/ 0 w 1230725"/>
                <a:gd name="connsiteY4" fmla="*/ 1065848 h 1421129"/>
                <a:gd name="connsiteX5" fmla="*/ 615410 w 1230725"/>
                <a:gd name="connsiteY5" fmla="*/ 1421130 h 1421129"/>
                <a:gd name="connsiteX6" fmla="*/ 1230725 w 1230725"/>
                <a:gd name="connsiteY6" fmla="*/ 1065848 h 142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0725" h="1421129">
                  <a:moveTo>
                    <a:pt x="1230725" y="1065848"/>
                  </a:moveTo>
                  <a:lnTo>
                    <a:pt x="1230725" y="355283"/>
                  </a:lnTo>
                  <a:lnTo>
                    <a:pt x="615410" y="0"/>
                  </a:lnTo>
                  <a:lnTo>
                    <a:pt x="0" y="355283"/>
                  </a:lnTo>
                  <a:lnTo>
                    <a:pt x="0" y="1065848"/>
                  </a:lnTo>
                  <a:lnTo>
                    <a:pt x="615410" y="1421130"/>
                  </a:lnTo>
                  <a:lnTo>
                    <a:pt x="1230725" y="1065848"/>
                  </a:lnTo>
                  <a:close/>
                </a:path>
              </a:pathLst>
            </a:custGeom>
            <a:noFill/>
            <a:ln w="9525" cap="flat">
              <a:solidFill>
                <a:srgbClr val="787C8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Grafik 15">
              <a:extLst>
                <a:ext uri="{FF2B5EF4-FFF2-40B4-BE49-F238E27FC236}">
                  <a16:creationId xmlns:a16="http://schemas.microsoft.com/office/drawing/2014/main" id="{CFBCE531-8B22-3987-6451-00E56386828F}"/>
                </a:ext>
              </a:extLst>
            </p:cNvPr>
            <p:cNvSpPr/>
            <p:nvPr userDrawn="1"/>
          </p:nvSpPr>
          <p:spPr>
            <a:xfrm>
              <a:off x="10054396" y="2385766"/>
              <a:ext cx="1013027" cy="1169751"/>
            </a:xfrm>
            <a:custGeom>
              <a:avLst/>
              <a:gdLst>
                <a:gd name="connsiteX0" fmla="*/ 1230725 w 1230725"/>
                <a:gd name="connsiteY0" fmla="*/ 1065848 h 1421129"/>
                <a:gd name="connsiteX1" fmla="*/ 1230725 w 1230725"/>
                <a:gd name="connsiteY1" fmla="*/ 355283 h 1421129"/>
                <a:gd name="connsiteX2" fmla="*/ 615410 w 1230725"/>
                <a:gd name="connsiteY2" fmla="*/ 0 h 1421129"/>
                <a:gd name="connsiteX3" fmla="*/ 0 w 1230725"/>
                <a:gd name="connsiteY3" fmla="*/ 355283 h 1421129"/>
                <a:gd name="connsiteX4" fmla="*/ 0 w 1230725"/>
                <a:gd name="connsiteY4" fmla="*/ 1065848 h 1421129"/>
                <a:gd name="connsiteX5" fmla="*/ 615410 w 1230725"/>
                <a:gd name="connsiteY5" fmla="*/ 1421130 h 1421129"/>
                <a:gd name="connsiteX6" fmla="*/ 1230725 w 1230725"/>
                <a:gd name="connsiteY6" fmla="*/ 1065848 h 142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0725" h="1421129">
                  <a:moveTo>
                    <a:pt x="1230725" y="1065848"/>
                  </a:moveTo>
                  <a:lnTo>
                    <a:pt x="1230725" y="355283"/>
                  </a:lnTo>
                  <a:lnTo>
                    <a:pt x="615410" y="0"/>
                  </a:lnTo>
                  <a:lnTo>
                    <a:pt x="0" y="355283"/>
                  </a:lnTo>
                  <a:lnTo>
                    <a:pt x="0" y="1065848"/>
                  </a:lnTo>
                  <a:lnTo>
                    <a:pt x="615410" y="1421130"/>
                  </a:lnTo>
                  <a:lnTo>
                    <a:pt x="1230725" y="1065848"/>
                  </a:lnTo>
                  <a:close/>
                </a:path>
              </a:pathLst>
            </a:custGeom>
            <a:noFill/>
            <a:ln w="9525" cap="flat">
              <a:solidFill>
                <a:srgbClr val="787C8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Grafik 15">
              <a:extLst>
                <a:ext uri="{FF2B5EF4-FFF2-40B4-BE49-F238E27FC236}">
                  <a16:creationId xmlns:a16="http://schemas.microsoft.com/office/drawing/2014/main" id="{396106D0-913B-754F-9B81-EA473E0D2828}"/>
                </a:ext>
              </a:extLst>
            </p:cNvPr>
            <p:cNvSpPr/>
            <p:nvPr userDrawn="1"/>
          </p:nvSpPr>
          <p:spPr>
            <a:xfrm>
              <a:off x="10595656" y="3397191"/>
              <a:ext cx="1013027" cy="1169751"/>
            </a:xfrm>
            <a:custGeom>
              <a:avLst/>
              <a:gdLst>
                <a:gd name="connsiteX0" fmla="*/ 1230725 w 1230725"/>
                <a:gd name="connsiteY0" fmla="*/ 1065848 h 1421129"/>
                <a:gd name="connsiteX1" fmla="*/ 1230725 w 1230725"/>
                <a:gd name="connsiteY1" fmla="*/ 355283 h 1421129"/>
                <a:gd name="connsiteX2" fmla="*/ 615410 w 1230725"/>
                <a:gd name="connsiteY2" fmla="*/ 0 h 1421129"/>
                <a:gd name="connsiteX3" fmla="*/ 0 w 1230725"/>
                <a:gd name="connsiteY3" fmla="*/ 355283 h 1421129"/>
                <a:gd name="connsiteX4" fmla="*/ 0 w 1230725"/>
                <a:gd name="connsiteY4" fmla="*/ 1065848 h 1421129"/>
                <a:gd name="connsiteX5" fmla="*/ 615410 w 1230725"/>
                <a:gd name="connsiteY5" fmla="*/ 1421130 h 1421129"/>
                <a:gd name="connsiteX6" fmla="*/ 1230725 w 1230725"/>
                <a:gd name="connsiteY6" fmla="*/ 1065848 h 142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0725" h="1421129">
                  <a:moveTo>
                    <a:pt x="1230725" y="1065848"/>
                  </a:moveTo>
                  <a:lnTo>
                    <a:pt x="1230725" y="355283"/>
                  </a:lnTo>
                  <a:lnTo>
                    <a:pt x="615410" y="0"/>
                  </a:lnTo>
                  <a:lnTo>
                    <a:pt x="0" y="355283"/>
                  </a:lnTo>
                  <a:lnTo>
                    <a:pt x="0" y="1065848"/>
                  </a:lnTo>
                  <a:lnTo>
                    <a:pt x="615410" y="1421130"/>
                  </a:lnTo>
                  <a:lnTo>
                    <a:pt x="1230725" y="1065848"/>
                  </a:lnTo>
                  <a:close/>
                </a:path>
              </a:pathLst>
            </a:custGeom>
            <a:noFill/>
            <a:ln w="9525" cap="flat">
              <a:solidFill>
                <a:srgbClr val="787C8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1B3EC22F-203A-9D3C-EB62-89E83C0FF862}"/>
              </a:ext>
            </a:extLst>
          </p:cNvPr>
          <p:cNvGrpSpPr/>
          <p:nvPr userDrawn="1"/>
        </p:nvGrpSpPr>
        <p:grpSpPr>
          <a:xfrm rot="14400000">
            <a:off x="1417307" y="4019882"/>
            <a:ext cx="2787355" cy="2708531"/>
            <a:chOff x="8821328" y="2385766"/>
            <a:chExt cx="2787355" cy="2708531"/>
          </a:xfrm>
        </p:grpSpPr>
        <p:sp>
          <p:nvSpPr>
            <p:cNvPr id="62" name="Grafik 15">
              <a:extLst>
                <a:ext uri="{FF2B5EF4-FFF2-40B4-BE49-F238E27FC236}">
                  <a16:creationId xmlns:a16="http://schemas.microsoft.com/office/drawing/2014/main" id="{1B640505-B6D2-027C-9A2D-735A0FC27B06}"/>
                </a:ext>
              </a:extLst>
            </p:cNvPr>
            <p:cNvSpPr/>
            <p:nvPr userDrawn="1"/>
          </p:nvSpPr>
          <p:spPr>
            <a:xfrm>
              <a:off x="8821328" y="3198317"/>
              <a:ext cx="1641955" cy="1895980"/>
            </a:xfrm>
            <a:custGeom>
              <a:avLst/>
              <a:gdLst>
                <a:gd name="connsiteX0" fmla="*/ 1230725 w 1230725"/>
                <a:gd name="connsiteY0" fmla="*/ 1065848 h 1421129"/>
                <a:gd name="connsiteX1" fmla="*/ 1230725 w 1230725"/>
                <a:gd name="connsiteY1" fmla="*/ 355283 h 1421129"/>
                <a:gd name="connsiteX2" fmla="*/ 615410 w 1230725"/>
                <a:gd name="connsiteY2" fmla="*/ 0 h 1421129"/>
                <a:gd name="connsiteX3" fmla="*/ 0 w 1230725"/>
                <a:gd name="connsiteY3" fmla="*/ 355283 h 1421129"/>
                <a:gd name="connsiteX4" fmla="*/ 0 w 1230725"/>
                <a:gd name="connsiteY4" fmla="*/ 1065848 h 1421129"/>
                <a:gd name="connsiteX5" fmla="*/ 615410 w 1230725"/>
                <a:gd name="connsiteY5" fmla="*/ 1421130 h 1421129"/>
                <a:gd name="connsiteX6" fmla="*/ 1230725 w 1230725"/>
                <a:gd name="connsiteY6" fmla="*/ 1065848 h 142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0725" h="1421129">
                  <a:moveTo>
                    <a:pt x="1230725" y="1065848"/>
                  </a:moveTo>
                  <a:lnTo>
                    <a:pt x="1230725" y="355283"/>
                  </a:lnTo>
                  <a:lnTo>
                    <a:pt x="615410" y="0"/>
                  </a:lnTo>
                  <a:lnTo>
                    <a:pt x="0" y="355283"/>
                  </a:lnTo>
                  <a:lnTo>
                    <a:pt x="0" y="1065848"/>
                  </a:lnTo>
                  <a:lnTo>
                    <a:pt x="615410" y="1421130"/>
                  </a:lnTo>
                  <a:lnTo>
                    <a:pt x="1230725" y="1065848"/>
                  </a:lnTo>
                  <a:close/>
                </a:path>
              </a:pathLst>
            </a:custGeom>
            <a:noFill/>
            <a:ln w="9525" cap="flat">
              <a:solidFill>
                <a:srgbClr val="787C8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Grafik 15">
              <a:extLst>
                <a:ext uri="{FF2B5EF4-FFF2-40B4-BE49-F238E27FC236}">
                  <a16:creationId xmlns:a16="http://schemas.microsoft.com/office/drawing/2014/main" id="{5A335114-E1C4-DD40-22D7-81186A58DC19}"/>
                </a:ext>
              </a:extLst>
            </p:cNvPr>
            <p:cNvSpPr/>
            <p:nvPr userDrawn="1"/>
          </p:nvSpPr>
          <p:spPr>
            <a:xfrm>
              <a:off x="10054396" y="2385766"/>
              <a:ext cx="1013027" cy="1169751"/>
            </a:xfrm>
            <a:custGeom>
              <a:avLst/>
              <a:gdLst>
                <a:gd name="connsiteX0" fmla="*/ 1230725 w 1230725"/>
                <a:gd name="connsiteY0" fmla="*/ 1065848 h 1421129"/>
                <a:gd name="connsiteX1" fmla="*/ 1230725 w 1230725"/>
                <a:gd name="connsiteY1" fmla="*/ 355283 h 1421129"/>
                <a:gd name="connsiteX2" fmla="*/ 615410 w 1230725"/>
                <a:gd name="connsiteY2" fmla="*/ 0 h 1421129"/>
                <a:gd name="connsiteX3" fmla="*/ 0 w 1230725"/>
                <a:gd name="connsiteY3" fmla="*/ 355283 h 1421129"/>
                <a:gd name="connsiteX4" fmla="*/ 0 w 1230725"/>
                <a:gd name="connsiteY4" fmla="*/ 1065848 h 1421129"/>
                <a:gd name="connsiteX5" fmla="*/ 615410 w 1230725"/>
                <a:gd name="connsiteY5" fmla="*/ 1421130 h 1421129"/>
                <a:gd name="connsiteX6" fmla="*/ 1230725 w 1230725"/>
                <a:gd name="connsiteY6" fmla="*/ 1065848 h 142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0725" h="1421129">
                  <a:moveTo>
                    <a:pt x="1230725" y="1065848"/>
                  </a:moveTo>
                  <a:lnTo>
                    <a:pt x="1230725" y="355283"/>
                  </a:lnTo>
                  <a:lnTo>
                    <a:pt x="615410" y="0"/>
                  </a:lnTo>
                  <a:lnTo>
                    <a:pt x="0" y="355283"/>
                  </a:lnTo>
                  <a:lnTo>
                    <a:pt x="0" y="1065848"/>
                  </a:lnTo>
                  <a:lnTo>
                    <a:pt x="615410" y="1421130"/>
                  </a:lnTo>
                  <a:lnTo>
                    <a:pt x="1230725" y="1065848"/>
                  </a:lnTo>
                  <a:close/>
                </a:path>
              </a:pathLst>
            </a:custGeom>
            <a:noFill/>
            <a:ln w="9525" cap="flat">
              <a:solidFill>
                <a:srgbClr val="787C8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" name="Grafik 15">
              <a:extLst>
                <a:ext uri="{FF2B5EF4-FFF2-40B4-BE49-F238E27FC236}">
                  <a16:creationId xmlns:a16="http://schemas.microsoft.com/office/drawing/2014/main" id="{50EDB7E6-3E03-C014-2927-4D27BFEB339B}"/>
                </a:ext>
              </a:extLst>
            </p:cNvPr>
            <p:cNvSpPr/>
            <p:nvPr userDrawn="1"/>
          </p:nvSpPr>
          <p:spPr>
            <a:xfrm>
              <a:off x="10595656" y="3397191"/>
              <a:ext cx="1013027" cy="1169751"/>
            </a:xfrm>
            <a:custGeom>
              <a:avLst/>
              <a:gdLst>
                <a:gd name="connsiteX0" fmla="*/ 1230725 w 1230725"/>
                <a:gd name="connsiteY0" fmla="*/ 1065848 h 1421129"/>
                <a:gd name="connsiteX1" fmla="*/ 1230725 w 1230725"/>
                <a:gd name="connsiteY1" fmla="*/ 355283 h 1421129"/>
                <a:gd name="connsiteX2" fmla="*/ 615410 w 1230725"/>
                <a:gd name="connsiteY2" fmla="*/ 0 h 1421129"/>
                <a:gd name="connsiteX3" fmla="*/ 0 w 1230725"/>
                <a:gd name="connsiteY3" fmla="*/ 355283 h 1421129"/>
                <a:gd name="connsiteX4" fmla="*/ 0 w 1230725"/>
                <a:gd name="connsiteY4" fmla="*/ 1065848 h 1421129"/>
                <a:gd name="connsiteX5" fmla="*/ 615410 w 1230725"/>
                <a:gd name="connsiteY5" fmla="*/ 1421130 h 1421129"/>
                <a:gd name="connsiteX6" fmla="*/ 1230725 w 1230725"/>
                <a:gd name="connsiteY6" fmla="*/ 1065848 h 142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0725" h="1421129">
                  <a:moveTo>
                    <a:pt x="1230725" y="1065848"/>
                  </a:moveTo>
                  <a:lnTo>
                    <a:pt x="1230725" y="355283"/>
                  </a:lnTo>
                  <a:lnTo>
                    <a:pt x="615410" y="0"/>
                  </a:lnTo>
                  <a:lnTo>
                    <a:pt x="0" y="355283"/>
                  </a:lnTo>
                  <a:lnTo>
                    <a:pt x="0" y="1065848"/>
                  </a:lnTo>
                  <a:lnTo>
                    <a:pt x="615410" y="1421130"/>
                  </a:lnTo>
                  <a:lnTo>
                    <a:pt x="1230725" y="1065848"/>
                  </a:lnTo>
                  <a:close/>
                </a:path>
              </a:pathLst>
            </a:custGeom>
            <a:noFill/>
            <a:ln w="9525" cap="flat">
              <a:solidFill>
                <a:srgbClr val="787C8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68" name="Grafik 67">
            <a:extLst>
              <a:ext uri="{FF2B5EF4-FFF2-40B4-BE49-F238E27FC236}">
                <a16:creationId xmlns:a16="http://schemas.microsoft.com/office/drawing/2014/main" id="{B6BE59FA-1493-B607-9406-5D5EDEA5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21243251">
            <a:off x="1315975" y="3335850"/>
            <a:ext cx="1178848" cy="671496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48A7B36E-52FA-35C3-1592-D341DACE80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21243251">
            <a:off x="1949098" y="3572950"/>
            <a:ext cx="1010755" cy="429426"/>
          </a:xfrm>
          <a:prstGeom prst="rect">
            <a:avLst/>
          </a:prstGeom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F85E06F9-DFD5-2DED-B755-AD144591A7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458058" flipV="1">
            <a:off x="7861972" y="2869151"/>
            <a:ext cx="1139569" cy="55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56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620BAEF-0BCB-D8CC-D509-3A9B632FAB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5A2433-F30A-842C-F966-308CAB5BD1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2DF640D-A911-6B6D-70A9-272CF6E5D80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C7A906FE-291D-44A3-74DF-4E0BF9EA5CDE}"/>
              </a:ext>
            </a:extLst>
          </p:cNvPr>
          <p:cNvSpPr/>
          <p:nvPr userDrawn="1"/>
        </p:nvSpPr>
        <p:spPr>
          <a:xfrm>
            <a:off x="1588" y="1993106"/>
            <a:ext cx="5114925" cy="4114800"/>
          </a:xfrm>
          <a:prstGeom prst="rect">
            <a:avLst/>
          </a:pr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ource Sans Pro Light" panose="020B0403030403020204" pitchFamily="34" charset="0"/>
            </a:endParaRP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7656FF63-62DE-D7BB-1ECF-BF25C2112C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4099232" y="869232"/>
            <a:ext cx="7329430" cy="5653797"/>
          </a:xfrm>
          <a:custGeom>
            <a:avLst/>
            <a:gdLst>
              <a:gd name="connsiteX0" fmla="*/ 1098967 w 7329430"/>
              <a:gd name="connsiteY0" fmla="*/ 0 h 5653797"/>
              <a:gd name="connsiteX1" fmla="*/ 7329430 w 7329430"/>
              <a:gd name="connsiteY1" fmla="*/ 0 h 5653797"/>
              <a:gd name="connsiteX2" fmla="*/ 6230462 w 7329430"/>
              <a:gd name="connsiteY2" fmla="*/ 5653797 h 5653797"/>
              <a:gd name="connsiteX3" fmla="*/ 0 w 7329430"/>
              <a:gd name="connsiteY3" fmla="*/ 5653797 h 5653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29430" h="5653797">
                <a:moveTo>
                  <a:pt x="1098967" y="0"/>
                </a:moveTo>
                <a:lnTo>
                  <a:pt x="7329430" y="0"/>
                </a:lnTo>
                <a:lnTo>
                  <a:pt x="6230462" y="5653797"/>
                </a:lnTo>
                <a:lnTo>
                  <a:pt x="0" y="5653797"/>
                </a:lnTo>
                <a:close/>
              </a:path>
            </a:pathLst>
          </a:custGeom>
          <a:solidFill>
            <a:srgbClr val="D6D6D8"/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2FA4C40-73EC-2982-AEBF-2CE9E626FB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3429000"/>
            <a:ext cx="3636962" cy="2349500"/>
          </a:xfrm>
        </p:spPr>
        <p:txBody>
          <a:bodyPr>
            <a:normAutofit/>
          </a:bodyPr>
          <a:lstStyle>
            <a:lvl1pPr algn="ctr">
              <a:defRPr sz="1200">
                <a:solidFill>
                  <a:srgbClr val="1E242B"/>
                </a:solidFill>
              </a:defRPr>
            </a:lvl1pPr>
            <a:lvl2pPr algn="ctr">
              <a:defRPr sz="1200">
                <a:solidFill>
                  <a:srgbClr val="1E242B"/>
                </a:solidFill>
              </a:defRPr>
            </a:lvl2pPr>
            <a:lvl3pPr algn="ctr">
              <a:defRPr sz="1200">
                <a:solidFill>
                  <a:srgbClr val="1E242B"/>
                </a:solidFill>
              </a:defRPr>
            </a:lvl3pPr>
            <a:lvl4pPr algn="ctr">
              <a:defRPr sz="1100">
                <a:solidFill>
                  <a:srgbClr val="1E242B"/>
                </a:solidFill>
              </a:defRPr>
            </a:lvl4pPr>
            <a:lvl5pPr algn="ctr">
              <a:defRPr sz="1100">
                <a:solidFill>
                  <a:srgbClr val="1E242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TextBox 16">
            <a:extLst>
              <a:ext uri="{FF2B5EF4-FFF2-40B4-BE49-F238E27FC236}">
                <a16:creationId xmlns:a16="http://schemas.microsoft.com/office/drawing/2014/main" id="{DC8ACBDF-CCBD-A0D2-6BF3-1A503E77CAF3}"/>
              </a:ext>
            </a:extLst>
          </p:cNvPr>
          <p:cNvSpPr txBox="1"/>
          <p:nvPr userDrawn="1"/>
        </p:nvSpPr>
        <p:spPr bwMode="gray">
          <a:xfrm>
            <a:off x="1975824" y="-237973"/>
            <a:ext cx="656771" cy="33382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3900">
                <a:solidFill>
                  <a:srgbClr val="1E242B"/>
                </a:solidFill>
              </a:rPr>
              <a:t>„</a:t>
            </a:r>
          </a:p>
        </p:txBody>
      </p:sp>
      <p:sp>
        <p:nvSpPr>
          <p:cNvPr id="23" name="Titel 22">
            <a:extLst>
              <a:ext uri="{FF2B5EF4-FFF2-40B4-BE49-F238E27FC236}">
                <a16:creationId xmlns:a16="http://schemas.microsoft.com/office/drawing/2014/main" id="{001BFB82-5A5E-8F73-4D1D-4A322559B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1019844"/>
            <a:ext cx="4170362" cy="796599"/>
          </a:xfrm>
        </p:spPr>
        <p:txBody>
          <a:bodyPr/>
          <a:lstStyle>
            <a:lvl1pPr>
              <a:defRPr>
                <a:solidFill>
                  <a:srgbClr val="6DC4C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7240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09797" y="1989138"/>
            <a:ext cx="11172405" cy="42457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262780" y="6598676"/>
            <a:ext cx="632700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/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fld id="{CC376DBA-9ED8-4FF3-8FB0-AB142F1F5160}" type="datetime1">
              <a:rPr lang="de-DE" smtClean="0"/>
              <a:pPr/>
              <a:t>25.03.2026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46442" y="6598676"/>
            <a:ext cx="280044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8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 algn="r">
              <a:defRPr sz="800">
                <a:solidFill>
                  <a:schemeClr val="tx1"/>
                </a:solidFill>
              </a:defRPr>
            </a:lvl2pPr>
            <a:lvl3pPr marL="0" indent="0" algn="r">
              <a:defRPr sz="800">
                <a:solidFill>
                  <a:schemeClr val="tx1"/>
                </a:solidFill>
              </a:defRPr>
            </a:lvl3pPr>
            <a:lvl4pPr marL="0" indent="0" algn="r">
              <a:defRPr sz="800">
                <a:solidFill>
                  <a:schemeClr val="tx1"/>
                </a:solidFill>
              </a:defRPr>
            </a:lvl4pPr>
            <a:lvl5pPr marL="0" indent="0" algn="r">
              <a:defRPr sz="800">
                <a:solidFill>
                  <a:schemeClr val="tx1"/>
                </a:solidFill>
              </a:defRPr>
            </a:lvl5pPr>
            <a:lvl6pPr marL="0" indent="0" algn="r">
              <a:defRPr sz="800">
                <a:solidFill>
                  <a:schemeClr val="tx1"/>
                </a:solidFill>
              </a:defRPr>
            </a:lvl6pPr>
            <a:lvl7pPr marL="0" indent="0" algn="r">
              <a:defRPr sz="800">
                <a:solidFill>
                  <a:schemeClr val="tx1"/>
                </a:solidFill>
              </a:defRPr>
            </a:lvl7pPr>
            <a:lvl8pPr marL="0" indent="0" algn="r">
              <a:defRPr sz="800">
                <a:solidFill>
                  <a:schemeClr val="tx1"/>
                </a:solidFill>
              </a:defRPr>
            </a:lvl8pPr>
            <a:lvl9pPr marL="0" indent="0" algn="r">
              <a:defRPr sz="800">
                <a:solidFill>
                  <a:schemeClr val="tx1"/>
                </a:solidFill>
              </a:defRPr>
            </a:lvl9pPr>
          </a:lstStyle>
          <a:p>
            <a:fld id="{5DA4142D-4092-458E-BB22-308CC6995BD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A8471BE7-9C71-BD6F-B586-6DAE8A171B0A}"/>
              </a:ext>
            </a:extLst>
          </p:cNvPr>
          <p:cNvSpPr/>
          <p:nvPr userDrawn="1"/>
        </p:nvSpPr>
        <p:spPr bwMode="gray">
          <a:xfrm>
            <a:off x="11441696" y="330682"/>
            <a:ext cx="481012" cy="48101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400" err="1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027412" y="6598676"/>
            <a:ext cx="922353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 algn="ctr">
              <a:defRPr sz="800">
                <a:solidFill>
                  <a:schemeClr val="tx1"/>
                </a:solidFill>
              </a:defRPr>
            </a:lvl2pPr>
            <a:lvl3pPr marL="0" indent="0" algn="ctr">
              <a:defRPr sz="800">
                <a:solidFill>
                  <a:schemeClr val="tx1"/>
                </a:solidFill>
              </a:defRPr>
            </a:lvl3pPr>
            <a:lvl4pPr marL="0" indent="0" algn="ctr">
              <a:defRPr sz="800">
                <a:solidFill>
                  <a:schemeClr val="tx1"/>
                </a:solidFill>
              </a:defRPr>
            </a:lvl4pPr>
            <a:lvl5pPr marL="0" indent="0" algn="ctr">
              <a:defRPr sz="800">
                <a:solidFill>
                  <a:schemeClr val="tx1"/>
                </a:solidFill>
              </a:defRPr>
            </a:lvl5pPr>
            <a:lvl6pPr marL="0" indent="0" algn="ctr">
              <a:defRPr sz="800">
                <a:solidFill>
                  <a:schemeClr val="tx1"/>
                </a:solidFill>
              </a:defRPr>
            </a:lvl6pPr>
            <a:lvl7pPr marL="0" indent="0" algn="ctr">
              <a:defRPr sz="800">
                <a:solidFill>
                  <a:schemeClr val="tx1"/>
                </a:solidFill>
              </a:defRPr>
            </a:lvl7pPr>
            <a:lvl8pPr marL="0" indent="0" algn="ctr">
              <a:defRPr sz="800">
                <a:solidFill>
                  <a:schemeClr val="tx1"/>
                </a:solidFill>
              </a:defRPr>
            </a:lvl8pPr>
            <a:lvl9pPr marL="0" indent="0" algn="ctr">
              <a:defRPr sz="800">
                <a:solidFill>
                  <a:schemeClr val="tx1"/>
                </a:solidFill>
              </a:defRPr>
            </a:lvl9pPr>
          </a:lstStyle>
          <a:p>
            <a:r>
              <a:rPr lang="de-DE"/>
              <a:t>Confidential</a:t>
            </a:r>
          </a:p>
        </p:txBody>
      </p:sp>
      <p:sp>
        <p:nvSpPr>
          <p:cNvPr id="7" name="empower - DO NOT DELETE!!!" hidden="1"/>
          <p:cNvSpPr/>
          <p:nvPr userDrawn="1">
            <p:custDataLst>
              <p:tags r:id="rId28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400" err="1"/>
          </a:p>
        </p:txBody>
      </p:sp>
      <p:sp>
        <p:nvSpPr>
          <p:cNvPr id="11" name="Titelplatzhalter 10">
            <a:extLst>
              <a:ext uri="{FF2B5EF4-FFF2-40B4-BE49-F238E27FC236}">
                <a16:creationId xmlns:a16="http://schemas.microsoft.com/office/drawing/2014/main" id="{8053BEC0-7C71-AF98-3CEA-0C1BF4E4B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1010888"/>
            <a:ext cx="11166264" cy="796599"/>
          </a:xfrm>
          <a:prstGeom prst="rect">
            <a:avLst/>
          </a:prstGeom>
        </p:spPr>
        <p:txBody>
          <a:bodyPr vert="horz" lIns="0" tIns="0" rIns="91440" bIns="45720" rtlCol="0" anchor="t" anchorCtr="0">
            <a:normAutofit/>
          </a:bodyPr>
          <a:lstStyle/>
          <a:p>
            <a:pPr lvl="0"/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181C9C01-0749-BD3D-CA91-FCBDF5379481}"/>
              </a:ext>
            </a:extLst>
          </p:cNvPr>
          <p:cNvGrpSpPr/>
          <p:nvPr userDrawn="1"/>
        </p:nvGrpSpPr>
        <p:grpSpPr>
          <a:xfrm>
            <a:off x="322553" y="407578"/>
            <a:ext cx="2036478" cy="405456"/>
            <a:chOff x="322553" y="407578"/>
            <a:chExt cx="2036478" cy="405456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DA37A57C-7BA0-2DED-4A6E-60C17ED15864}"/>
                </a:ext>
              </a:extLst>
            </p:cNvPr>
            <p:cNvSpPr/>
            <p:nvPr/>
          </p:nvSpPr>
          <p:spPr>
            <a:xfrm>
              <a:off x="2134860" y="407578"/>
              <a:ext cx="224171" cy="295293"/>
            </a:xfrm>
            <a:custGeom>
              <a:avLst/>
              <a:gdLst>
                <a:gd name="connsiteX0" fmla="*/ 20689 w 224171"/>
                <a:gd name="connsiteY0" fmla="*/ 249583 h 295293"/>
                <a:gd name="connsiteX1" fmla="*/ 0 w 224171"/>
                <a:gd name="connsiteY1" fmla="*/ 280592 h 295293"/>
                <a:gd name="connsiteX2" fmla="*/ 79884 w 224171"/>
                <a:gd name="connsiteY2" fmla="*/ 295294 h 295293"/>
                <a:gd name="connsiteX3" fmla="*/ 197106 w 224171"/>
                <a:gd name="connsiteY3" fmla="*/ 215020 h 295293"/>
                <a:gd name="connsiteX4" fmla="*/ 201098 w 224171"/>
                <a:gd name="connsiteY4" fmla="*/ 196716 h 295293"/>
                <a:gd name="connsiteX5" fmla="*/ 202704 w 224171"/>
                <a:gd name="connsiteY5" fmla="*/ 182404 h 295293"/>
                <a:gd name="connsiteX6" fmla="*/ 170137 w 224171"/>
                <a:gd name="connsiteY6" fmla="*/ 139079 h 295293"/>
                <a:gd name="connsiteX7" fmla="*/ 218233 w 224171"/>
                <a:gd name="connsiteY7" fmla="*/ 89425 h 295293"/>
                <a:gd name="connsiteX8" fmla="*/ 221787 w 224171"/>
                <a:gd name="connsiteY8" fmla="*/ 73507 h 295293"/>
                <a:gd name="connsiteX9" fmla="*/ 224172 w 224171"/>
                <a:gd name="connsiteY9" fmla="*/ 52039 h 295293"/>
                <a:gd name="connsiteX10" fmla="*/ 143898 w 224171"/>
                <a:gd name="connsiteY10" fmla="*/ 0 h 295293"/>
                <a:gd name="connsiteX11" fmla="*/ 64014 w 224171"/>
                <a:gd name="connsiteY11" fmla="*/ 15091 h 295293"/>
                <a:gd name="connsiteX12" fmla="*/ 63235 w 224171"/>
                <a:gd name="connsiteY12" fmla="*/ 23415 h 295293"/>
                <a:gd name="connsiteX13" fmla="*/ 70391 w 224171"/>
                <a:gd name="connsiteY13" fmla="*/ 45273 h 295293"/>
                <a:gd name="connsiteX14" fmla="*/ 122041 w 224171"/>
                <a:gd name="connsiteY14" fmla="*/ 40891 h 295293"/>
                <a:gd name="connsiteX15" fmla="*/ 175297 w 224171"/>
                <a:gd name="connsiteY15" fmla="*/ 65913 h 295293"/>
                <a:gd name="connsiteX16" fmla="*/ 174129 w 224171"/>
                <a:gd name="connsiteY16" fmla="*/ 75844 h 295293"/>
                <a:gd name="connsiteX17" fmla="*/ 171743 w 224171"/>
                <a:gd name="connsiteY17" fmla="*/ 86991 h 295293"/>
                <a:gd name="connsiteX18" fmla="*/ 104175 w 224171"/>
                <a:gd name="connsiteY18" fmla="*/ 120386 h 295293"/>
                <a:gd name="connsiteX19" fmla="*/ 94634 w 224171"/>
                <a:gd name="connsiteY19" fmla="*/ 120386 h 295293"/>
                <a:gd name="connsiteX20" fmla="*/ 82318 w 224171"/>
                <a:gd name="connsiteY20" fmla="*/ 146235 h 295293"/>
                <a:gd name="connsiteX21" fmla="*/ 87478 w 224171"/>
                <a:gd name="connsiteY21" fmla="*/ 161715 h 295293"/>
                <a:gd name="connsiteX22" fmla="*/ 100963 w 224171"/>
                <a:gd name="connsiteY22" fmla="*/ 161715 h 295293"/>
                <a:gd name="connsiteX23" fmla="*/ 153829 w 224171"/>
                <a:gd name="connsiteY23" fmla="*/ 189122 h 295293"/>
                <a:gd name="connsiteX24" fmla="*/ 152661 w 224171"/>
                <a:gd name="connsiteY24" fmla="*/ 199053 h 295293"/>
                <a:gd name="connsiteX25" fmla="*/ 149107 w 224171"/>
                <a:gd name="connsiteY25" fmla="*/ 216919 h 295293"/>
                <a:gd name="connsiteX26" fmla="*/ 73215 w 224171"/>
                <a:gd name="connsiteY26" fmla="*/ 253867 h 295293"/>
                <a:gd name="connsiteX27" fmla="*/ 20786 w 224171"/>
                <a:gd name="connsiteY27" fmla="*/ 249486 h 295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24171" h="295293">
                  <a:moveTo>
                    <a:pt x="20689" y="249583"/>
                  </a:moveTo>
                  <a:cubicBezTo>
                    <a:pt x="11537" y="249583"/>
                    <a:pt x="0" y="277817"/>
                    <a:pt x="0" y="280592"/>
                  </a:cubicBezTo>
                  <a:cubicBezTo>
                    <a:pt x="0" y="291302"/>
                    <a:pt x="52039" y="295294"/>
                    <a:pt x="79884" y="295294"/>
                  </a:cubicBezTo>
                  <a:cubicBezTo>
                    <a:pt x="129148" y="295294"/>
                    <a:pt x="183621" y="276600"/>
                    <a:pt x="197106" y="215020"/>
                  </a:cubicBezTo>
                  <a:lnTo>
                    <a:pt x="201098" y="196716"/>
                  </a:lnTo>
                  <a:cubicBezTo>
                    <a:pt x="202266" y="191556"/>
                    <a:pt x="202704" y="186786"/>
                    <a:pt x="202704" y="182404"/>
                  </a:cubicBezTo>
                  <a:cubicBezTo>
                    <a:pt x="202704" y="156555"/>
                    <a:pt x="186786" y="141854"/>
                    <a:pt x="170137" y="139079"/>
                  </a:cubicBezTo>
                  <a:cubicBezTo>
                    <a:pt x="188830" y="133530"/>
                    <a:pt x="211856" y="118001"/>
                    <a:pt x="218233" y="89425"/>
                  </a:cubicBezTo>
                  <a:lnTo>
                    <a:pt x="221787" y="73507"/>
                  </a:lnTo>
                  <a:cubicBezTo>
                    <a:pt x="223393" y="65572"/>
                    <a:pt x="224172" y="58416"/>
                    <a:pt x="224172" y="52039"/>
                  </a:cubicBezTo>
                  <a:cubicBezTo>
                    <a:pt x="224172" y="12316"/>
                    <a:pt x="193990" y="0"/>
                    <a:pt x="143898" y="0"/>
                  </a:cubicBezTo>
                  <a:cubicBezTo>
                    <a:pt x="112889" y="0"/>
                    <a:pt x="66400" y="3164"/>
                    <a:pt x="64014" y="15091"/>
                  </a:cubicBezTo>
                  <a:cubicBezTo>
                    <a:pt x="63625" y="17087"/>
                    <a:pt x="63235" y="20251"/>
                    <a:pt x="63235" y="23415"/>
                  </a:cubicBezTo>
                  <a:cubicBezTo>
                    <a:pt x="63235" y="32956"/>
                    <a:pt x="65621" y="45273"/>
                    <a:pt x="70391" y="45273"/>
                  </a:cubicBezTo>
                  <a:cubicBezTo>
                    <a:pt x="95802" y="41670"/>
                    <a:pt x="108946" y="40891"/>
                    <a:pt x="122041" y="40891"/>
                  </a:cubicBezTo>
                  <a:cubicBezTo>
                    <a:pt x="158600" y="40891"/>
                    <a:pt x="175297" y="46830"/>
                    <a:pt x="175297" y="65913"/>
                  </a:cubicBezTo>
                  <a:cubicBezTo>
                    <a:pt x="175297" y="69077"/>
                    <a:pt x="174908" y="72290"/>
                    <a:pt x="174129" y="75844"/>
                  </a:cubicBezTo>
                  <a:lnTo>
                    <a:pt x="171743" y="86991"/>
                  </a:lnTo>
                  <a:cubicBezTo>
                    <a:pt x="166194" y="113230"/>
                    <a:pt x="137570" y="120386"/>
                    <a:pt x="104175" y="120386"/>
                  </a:cubicBezTo>
                  <a:lnTo>
                    <a:pt x="94634" y="120386"/>
                  </a:lnTo>
                  <a:cubicBezTo>
                    <a:pt x="85482" y="120386"/>
                    <a:pt x="82318" y="131923"/>
                    <a:pt x="82318" y="146235"/>
                  </a:cubicBezTo>
                  <a:cubicBezTo>
                    <a:pt x="82318" y="154170"/>
                    <a:pt x="83924" y="161715"/>
                    <a:pt x="87478" y="161715"/>
                  </a:cubicBezTo>
                  <a:lnTo>
                    <a:pt x="100963" y="161715"/>
                  </a:lnTo>
                  <a:cubicBezTo>
                    <a:pt x="129976" y="161715"/>
                    <a:pt x="153829" y="165707"/>
                    <a:pt x="153829" y="189122"/>
                  </a:cubicBezTo>
                  <a:cubicBezTo>
                    <a:pt x="153829" y="192286"/>
                    <a:pt x="153440" y="195499"/>
                    <a:pt x="152661" y="199053"/>
                  </a:cubicBezTo>
                  <a:lnTo>
                    <a:pt x="149107" y="216919"/>
                  </a:lnTo>
                  <a:cubicBezTo>
                    <a:pt x="142341" y="249924"/>
                    <a:pt x="104614" y="253867"/>
                    <a:pt x="73215" y="253867"/>
                  </a:cubicBezTo>
                  <a:cubicBezTo>
                    <a:pt x="54522" y="253867"/>
                    <a:pt x="37435" y="250265"/>
                    <a:pt x="20786" y="249486"/>
                  </a:cubicBezTo>
                </a:path>
              </a:pathLst>
            </a:custGeom>
            <a:solidFill>
              <a:srgbClr val="6CC4C4"/>
            </a:solidFill>
            <a:ln w="48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1318D3EC-EF6E-D94F-11A2-7C57F243300C}"/>
                </a:ext>
              </a:extLst>
            </p:cNvPr>
            <p:cNvSpPr/>
            <p:nvPr/>
          </p:nvSpPr>
          <p:spPr>
            <a:xfrm>
              <a:off x="628648" y="517595"/>
              <a:ext cx="1454610" cy="295439"/>
            </a:xfrm>
            <a:custGeom>
              <a:avLst/>
              <a:gdLst>
                <a:gd name="connsiteX0" fmla="*/ 1360707 w 1454610"/>
                <a:gd name="connsiteY0" fmla="*/ 46928 h 295439"/>
                <a:gd name="connsiteX1" fmla="*/ 1404422 w 1454610"/>
                <a:gd name="connsiteY1" fmla="*/ 69174 h 295439"/>
                <a:gd name="connsiteX2" fmla="*/ 1401257 w 1454610"/>
                <a:gd name="connsiteY2" fmla="*/ 90642 h 295439"/>
                <a:gd name="connsiteX3" fmla="*/ 1399651 w 1454610"/>
                <a:gd name="connsiteY3" fmla="*/ 99405 h 295439"/>
                <a:gd name="connsiteX4" fmla="*/ 1340407 w 1454610"/>
                <a:gd name="connsiteY4" fmla="*/ 142730 h 295439"/>
                <a:gd name="connsiteX5" fmla="*/ 1285155 w 1454610"/>
                <a:gd name="connsiteY5" fmla="*/ 142730 h 295439"/>
                <a:gd name="connsiteX6" fmla="*/ 1305455 w 1454610"/>
                <a:gd name="connsiteY6" fmla="*/ 46928 h 295439"/>
                <a:gd name="connsiteX7" fmla="*/ 1360707 w 1454610"/>
                <a:gd name="connsiteY7" fmla="*/ 46928 h 295439"/>
                <a:gd name="connsiteX8" fmla="*/ 1206878 w 1454610"/>
                <a:gd name="connsiteY8" fmla="*/ 287067 h 295439"/>
                <a:gd name="connsiteX9" fmla="*/ 1240662 w 1454610"/>
                <a:gd name="connsiteY9" fmla="*/ 295391 h 295439"/>
                <a:gd name="connsiteX10" fmla="*/ 1254584 w 1454610"/>
                <a:gd name="connsiteY10" fmla="*/ 285071 h 295439"/>
                <a:gd name="connsiteX11" fmla="*/ 1276052 w 1454610"/>
                <a:gd name="connsiteY11" fmla="*/ 185277 h 295439"/>
                <a:gd name="connsiteX12" fmla="*/ 1324976 w 1454610"/>
                <a:gd name="connsiteY12" fmla="*/ 185277 h 295439"/>
                <a:gd name="connsiteX13" fmla="*/ 1361972 w 1454610"/>
                <a:gd name="connsiteY13" fmla="*/ 285071 h 295439"/>
                <a:gd name="connsiteX14" fmla="*/ 1397363 w 1454610"/>
                <a:gd name="connsiteY14" fmla="*/ 295391 h 295439"/>
                <a:gd name="connsiteX15" fmla="*/ 1414450 w 1454610"/>
                <a:gd name="connsiteY15" fmla="*/ 285460 h 295439"/>
                <a:gd name="connsiteX16" fmla="*/ 1412064 w 1454610"/>
                <a:gd name="connsiteY16" fmla="*/ 276308 h 295439"/>
                <a:gd name="connsiteX17" fmla="*/ 1377063 w 1454610"/>
                <a:gd name="connsiteY17" fmla="*/ 180895 h 295439"/>
                <a:gd name="connsiteX18" fmla="*/ 1449013 w 1454610"/>
                <a:gd name="connsiteY18" fmla="*/ 99405 h 295439"/>
                <a:gd name="connsiteX19" fmla="*/ 1450619 w 1454610"/>
                <a:gd name="connsiteY19" fmla="*/ 90642 h 295439"/>
                <a:gd name="connsiteX20" fmla="*/ 1454611 w 1454610"/>
                <a:gd name="connsiteY20" fmla="*/ 58416 h 295439"/>
                <a:gd name="connsiteX21" fmla="*/ 1367522 w 1454610"/>
                <a:gd name="connsiteY21" fmla="*/ 4333 h 295439"/>
                <a:gd name="connsiteX22" fmla="*/ 1279654 w 1454610"/>
                <a:gd name="connsiteY22" fmla="*/ 4333 h 295439"/>
                <a:gd name="connsiteX23" fmla="*/ 1264953 w 1454610"/>
                <a:gd name="connsiteY23" fmla="*/ 14653 h 295439"/>
                <a:gd name="connsiteX24" fmla="*/ 1206926 w 1454610"/>
                <a:gd name="connsiteY24" fmla="*/ 286969 h 295439"/>
                <a:gd name="connsiteX25" fmla="*/ 959437 w 1454610"/>
                <a:gd name="connsiteY25" fmla="*/ 282685 h 295439"/>
                <a:gd name="connsiteX26" fmla="*/ 975744 w 1454610"/>
                <a:gd name="connsiteY26" fmla="*/ 290620 h 295439"/>
                <a:gd name="connsiteX27" fmla="*/ 1132008 w 1454610"/>
                <a:gd name="connsiteY27" fmla="*/ 290620 h 295439"/>
                <a:gd name="connsiteX28" fmla="*/ 1146319 w 1454610"/>
                <a:gd name="connsiteY28" fmla="*/ 257226 h 295439"/>
                <a:gd name="connsiteX29" fmla="*/ 1138385 w 1454610"/>
                <a:gd name="connsiteY29" fmla="*/ 248074 h 295439"/>
                <a:gd name="connsiteX30" fmla="*/ 1014348 w 1454610"/>
                <a:gd name="connsiteY30" fmla="*/ 248074 h 295439"/>
                <a:gd name="connsiteX31" fmla="*/ 1031824 w 1454610"/>
                <a:gd name="connsiteY31" fmla="*/ 166583 h 295439"/>
                <a:gd name="connsiteX32" fmla="*/ 1142766 w 1454610"/>
                <a:gd name="connsiteY32" fmla="*/ 166583 h 295439"/>
                <a:gd name="connsiteX33" fmla="*/ 1157467 w 1454610"/>
                <a:gd name="connsiteY33" fmla="*/ 132799 h 295439"/>
                <a:gd name="connsiteX34" fmla="*/ 1149922 w 1454610"/>
                <a:gd name="connsiteY34" fmla="*/ 124037 h 295439"/>
                <a:gd name="connsiteX35" fmla="*/ 1040976 w 1454610"/>
                <a:gd name="connsiteY35" fmla="*/ 124037 h 295439"/>
                <a:gd name="connsiteX36" fmla="*/ 1057284 w 1454610"/>
                <a:gd name="connsiteY36" fmla="*/ 46928 h 295439"/>
                <a:gd name="connsiteX37" fmla="*/ 1183706 w 1454610"/>
                <a:gd name="connsiteY37" fmla="*/ 46928 h 295439"/>
                <a:gd name="connsiteX38" fmla="*/ 1198407 w 1454610"/>
                <a:gd name="connsiteY38" fmla="*/ 13144 h 295439"/>
                <a:gd name="connsiteX39" fmla="*/ 1190472 w 1454610"/>
                <a:gd name="connsiteY39" fmla="*/ 4381 h 295439"/>
                <a:gd name="connsiteX40" fmla="*/ 1031045 w 1454610"/>
                <a:gd name="connsiteY40" fmla="*/ 4381 h 295439"/>
                <a:gd name="connsiteX41" fmla="*/ 1016344 w 1454610"/>
                <a:gd name="connsiteY41" fmla="*/ 14701 h 295439"/>
                <a:gd name="connsiteX42" fmla="*/ 959485 w 1454610"/>
                <a:gd name="connsiteY42" fmla="*/ 282637 h 295439"/>
                <a:gd name="connsiteX43" fmla="*/ 881792 w 1454610"/>
                <a:gd name="connsiteY43" fmla="*/ 47317 h 295439"/>
                <a:gd name="connsiteX44" fmla="*/ 956905 w 1454610"/>
                <a:gd name="connsiteY44" fmla="*/ 47317 h 295439"/>
                <a:gd name="connsiteX45" fmla="*/ 971607 w 1454610"/>
                <a:gd name="connsiteY45" fmla="*/ 13533 h 295439"/>
                <a:gd name="connsiteX46" fmla="*/ 963282 w 1454610"/>
                <a:gd name="connsiteY46" fmla="*/ 4771 h 295439"/>
                <a:gd name="connsiteX47" fmla="*/ 767296 w 1454610"/>
                <a:gd name="connsiteY47" fmla="*/ 4771 h 295439"/>
                <a:gd name="connsiteX48" fmla="*/ 752595 w 1454610"/>
                <a:gd name="connsiteY48" fmla="*/ 38944 h 295439"/>
                <a:gd name="connsiteX49" fmla="*/ 760919 w 1454610"/>
                <a:gd name="connsiteY49" fmla="*/ 47268 h 295439"/>
                <a:gd name="connsiteX50" fmla="*/ 834085 w 1454610"/>
                <a:gd name="connsiteY50" fmla="*/ 47268 h 295439"/>
                <a:gd name="connsiteX51" fmla="*/ 782776 w 1454610"/>
                <a:gd name="connsiteY51" fmla="*/ 287018 h 295439"/>
                <a:gd name="connsiteX52" fmla="*/ 816560 w 1454610"/>
                <a:gd name="connsiteY52" fmla="*/ 295342 h 295439"/>
                <a:gd name="connsiteX53" fmla="*/ 831262 w 1454610"/>
                <a:gd name="connsiteY53" fmla="*/ 284584 h 295439"/>
                <a:gd name="connsiteX54" fmla="*/ 881743 w 1454610"/>
                <a:gd name="connsiteY54" fmla="*/ 47220 h 295439"/>
                <a:gd name="connsiteX55" fmla="*/ 639559 w 1454610"/>
                <a:gd name="connsiteY55" fmla="*/ 47317 h 295439"/>
                <a:gd name="connsiteX56" fmla="*/ 714673 w 1454610"/>
                <a:gd name="connsiteY56" fmla="*/ 47317 h 295439"/>
                <a:gd name="connsiteX57" fmla="*/ 729374 w 1454610"/>
                <a:gd name="connsiteY57" fmla="*/ 13533 h 295439"/>
                <a:gd name="connsiteX58" fmla="*/ 721050 w 1454610"/>
                <a:gd name="connsiteY58" fmla="*/ 4771 h 295439"/>
                <a:gd name="connsiteX59" fmla="*/ 525064 w 1454610"/>
                <a:gd name="connsiteY59" fmla="*/ 4771 h 295439"/>
                <a:gd name="connsiteX60" fmla="*/ 510362 w 1454610"/>
                <a:gd name="connsiteY60" fmla="*/ 38944 h 295439"/>
                <a:gd name="connsiteX61" fmla="*/ 518687 w 1454610"/>
                <a:gd name="connsiteY61" fmla="*/ 47268 h 295439"/>
                <a:gd name="connsiteX62" fmla="*/ 591853 w 1454610"/>
                <a:gd name="connsiteY62" fmla="*/ 47268 h 295439"/>
                <a:gd name="connsiteX63" fmla="*/ 540593 w 1454610"/>
                <a:gd name="connsiteY63" fmla="*/ 287018 h 295439"/>
                <a:gd name="connsiteX64" fmla="*/ 574377 w 1454610"/>
                <a:gd name="connsiteY64" fmla="*/ 295342 h 295439"/>
                <a:gd name="connsiteX65" fmla="*/ 589078 w 1454610"/>
                <a:gd name="connsiteY65" fmla="*/ 284584 h 295439"/>
                <a:gd name="connsiteX66" fmla="*/ 639559 w 1454610"/>
                <a:gd name="connsiteY66" fmla="*/ 47220 h 295439"/>
                <a:gd name="connsiteX67" fmla="*/ 398885 w 1454610"/>
                <a:gd name="connsiteY67" fmla="*/ 70391 h 295439"/>
                <a:gd name="connsiteX68" fmla="*/ 409205 w 1454610"/>
                <a:gd name="connsiteY68" fmla="*/ 177731 h 295439"/>
                <a:gd name="connsiteX69" fmla="*/ 343195 w 1454610"/>
                <a:gd name="connsiteY69" fmla="*/ 177731 h 295439"/>
                <a:gd name="connsiteX70" fmla="*/ 398836 w 1454610"/>
                <a:gd name="connsiteY70" fmla="*/ 70391 h 295439"/>
                <a:gd name="connsiteX71" fmla="*/ 419185 w 1454610"/>
                <a:gd name="connsiteY71" fmla="*/ 285850 h 295439"/>
                <a:gd name="connsiteX72" fmla="*/ 454964 w 1454610"/>
                <a:gd name="connsiteY72" fmla="*/ 295391 h 295439"/>
                <a:gd name="connsiteX73" fmla="*/ 470055 w 1454610"/>
                <a:gd name="connsiteY73" fmla="*/ 283075 h 295439"/>
                <a:gd name="connsiteX74" fmla="*/ 436271 w 1454610"/>
                <a:gd name="connsiteY74" fmla="*/ 9152 h 295439"/>
                <a:gd name="connsiteX75" fmla="*/ 427947 w 1454610"/>
                <a:gd name="connsiteY75" fmla="*/ 0 h 295439"/>
                <a:gd name="connsiteX76" fmla="*/ 388565 w 1454610"/>
                <a:gd name="connsiteY76" fmla="*/ 8762 h 295439"/>
                <a:gd name="connsiteX77" fmla="*/ 238289 w 1454610"/>
                <a:gd name="connsiteY77" fmla="*/ 283075 h 295439"/>
                <a:gd name="connsiteX78" fmla="*/ 236293 w 1454610"/>
                <a:gd name="connsiteY78" fmla="*/ 288235 h 295439"/>
                <a:gd name="connsiteX79" fmla="*/ 247830 w 1454610"/>
                <a:gd name="connsiteY79" fmla="*/ 295391 h 295439"/>
                <a:gd name="connsiteX80" fmla="*/ 286385 w 1454610"/>
                <a:gd name="connsiteY80" fmla="*/ 287067 h 295439"/>
                <a:gd name="connsiteX81" fmla="*/ 321386 w 1454610"/>
                <a:gd name="connsiteY81" fmla="*/ 220278 h 295439"/>
                <a:gd name="connsiteX82" fmla="*/ 412807 w 1454610"/>
                <a:gd name="connsiteY82" fmla="*/ 220278 h 295439"/>
                <a:gd name="connsiteX83" fmla="*/ 419185 w 1454610"/>
                <a:gd name="connsiteY83" fmla="*/ 285850 h 295439"/>
                <a:gd name="connsiteX84" fmla="*/ 68785 w 1454610"/>
                <a:gd name="connsiteY84" fmla="*/ 115713 h 295439"/>
                <a:gd name="connsiteX85" fmla="*/ 150276 w 1454610"/>
                <a:gd name="connsiteY85" fmla="*/ 42546 h 295439"/>
                <a:gd name="connsiteX86" fmla="*/ 157432 w 1454610"/>
                <a:gd name="connsiteY86" fmla="*/ 42546 h 295439"/>
                <a:gd name="connsiteX87" fmla="*/ 219839 w 1454610"/>
                <a:gd name="connsiteY87" fmla="*/ 51698 h 295439"/>
                <a:gd name="connsiteX88" fmla="*/ 221056 w 1454610"/>
                <a:gd name="connsiteY88" fmla="*/ 52088 h 295439"/>
                <a:gd name="connsiteX89" fmla="*/ 244131 w 1454610"/>
                <a:gd name="connsiteY89" fmla="*/ 19861 h 295439"/>
                <a:gd name="connsiteX90" fmla="*/ 166583 w 1454610"/>
                <a:gd name="connsiteY90" fmla="*/ 0 h 295439"/>
                <a:gd name="connsiteX91" fmla="*/ 159427 w 1454610"/>
                <a:gd name="connsiteY91" fmla="*/ 0 h 295439"/>
                <a:gd name="connsiteX92" fmla="*/ 21468 w 1454610"/>
                <a:gd name="connsiteY92" fmla="*/ 108557 h 295439"/>
                <a:gd name="connsiteX93" fmla="*/ 4771 w 1454610"/>
                <a:gd name="connsiteY93" fmla="*/ 186883 h 295439"/>
                <a:gd name="connsiteX94" fmla="*/ 0 w 1454610"/>
                <a:gd name="connsiteY94" fmla="*/ 225048 h 295439"/>
                <a:gd name="connsiteX95" fmla="*/ 98188 w 1454610"/>
                <a:gd name="connsiteY95" fmla="*/ 295440 h 295439"/>
                <a:gd name="connsiteX96" fmla="*/ 101352 w 1454610"/>
                <a:gd name="connsiteY96" fmla="*/ 295440 h 295439"/>
                <a:gd name="connsiteX97" fmla="*/ 183232 w 1454610"/>
                <a:gd name="connsiteY97" fmla="*/ 277964 h 295439"/>
                <a:gd name="connsiteX98" fmla="*/ 192384 w 1454610"/>
                <a:gd name="connsiteY98" fmla="*/ 263652 h 295439"/>
                <a:gd name="connsiteX99" fmla="*/ 214631 w 1454610"/>
                <a:gd name="connsiteY99" fmla="*/ 158697 h 295439"/>
                <a:gd name="connsiteX100" fmla="*/ 215020 w 1454610"/>
                <a:gd name="connsiteY100" fmla="*/ 155922 h 295439"/>
                <a:gd name="connsiteX101" fmla="*/ 206696 w 1454610"/>
                <a:gd name="connsiteY101" fmla="*/ 145992 h 295439"/>
                <a:gd name="connsiteX102" fmla="*/ 168141 w 1454610"/>
                <a:gd name="connsiteY102" fmla="*/ 154365 h 295439"/>
                <a:gd name="connsiteX103" fmla="*/ 148280 w 1454610"/>
                <a:gd name="connsiteY103" fmla="*/ 248561 h 295439"/>
                <a:gd name="connsiteX104" fmla="*/ 110504 w 1454610"/>
                <a:gd name="connsiteY104" fmla="*/ 252942 h 295439"/>
                <a:gd name="connsiteX105" fmla="*/ 107340 w 1454610"/>
                <a:gd name="connsiteY105" fmla="*/ 252942 h 295439"/>
                <a:gd name="connsiteX106" fmla="*/ 50871 w 1454610"/>
                <a:gd name="connsiteY106" fmla="*/ 212781 h 295439"/>
                <a:gd name="connsiteX107" fmla="*/ 55252 w 1454610"/>
                <a:gd name="connsiteY107" fmla="*/ 179776 h 295439"/>
                <a:gd name="connsiteX108" fmla="*/ 68785 w 1454610"/>
                <a:gd name="connsiteY108" fmla="*/ 115761 h 29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1454610" h="295439">
                  <a:moveTo>
                    <a:pt x="1360707" y="46928"/>
                  </a:moveTo>
                  <a:cubicBezTo>
                    <a:pt x="1393322" y="46928"/>
                    <a:pt x="1404422" y="51698"/>
                    <a:pt x="1404422" y="69174"/>
                  </a:cubicBezTo>
                  <a:cubicBezTo>
                    <a:pt x="1404811" y="74724"/>
                    <a:pt x="1402815" y="81880"/>
                    <a:pt x="1401257" y="90642"/>
                  </a:cubicBezTo>
                  <a:lnTo>
                    <a:pt x="1399651" y="99405"/>
                  </a:lnTo>
                  <a:cubicBezTo>
                    <a:pt x="1392884" y="135185"/>
                    <a:pt x="1382954" y="142730"/>
                    <a:pt x="1340407" y="142730"/>
                  </a:cubicBezTo>
                  <a:lnTo>
                    <a:pt x="1285155" y="142730"/>
                  </a:lnTo>
                  <a:lnTo>
                    <a:pt x="1305455" y="46928"/>
                  </a:lnTo>
                  <a:lnTo>
                    <a:pt x="1360707" y="46928"/>
                  </a:lnTo>
                  <a:close/>
                  <a:moveTo>
                    <a:pt x="1206878" y="287067"/>
                  </a:moveTo>
                  <a:cubicBezTo>
                    <a:pt x="1206878" y="293833"/>
                    <a:pt x="1229952" y="295391"/>
                    <a:pt x="1240662" y="295391"/>
                  </a:cubicBezTo>
                  <a:cubicBezTo>
                    <a:pt x="1247039" y="295391"/>
                    <a:pt x="1252978" y="291399"/>
                    <a:pt x="1254584" y="285071"/>
                  </a:cubicBezTo>
                  <a:lnTo>
                    <a:pt x="1276052" y="185277"/>
                  </a:lnTo>
                  <a:lnTo>
                    <a:pt x="1324976" y="185277"/>
                  </a:lnTo>
                  <a:lnTo>
                    <a:pt x="1361972" y="285071"/>
                  </a:lnTo>
                  <a:cubicBezTo>
                    <a:pt x="1365137" y="294223"/>
                    <a:pt x="1387822" y="295391"/>
                    <a:pt x="1397363" y="295391"/>
                  </a:cubicBezTo>
                  <a:cubicBezTo>
                    <a:pt x="1401744" y="295391"/>
                    <a:pt x="1414450" y="294612"/>
                    <a:pt x="1414450" y="285460"/>
                  </a:cubicBezTo>
                  <a:cubicBezTo>
                    <a:pt x="1414450" y="282685"/>
                    <a:pt x="1413671" y="279911"/>
                    <a:pt x="1412064" y="276308"/>
                  </a:cubicBezTo>
                  <a:lnTo>
                    <a:pt x="1377063" y="180895"/>
                  </a:lnTo>
                  <a:cubicBezTo>
                    <a:pt x="1418782" y="172571"/>
                    <a:pt x="1438303" y="149497"/>
                    <a:pt x="1449013" y="99405"/>
                  </a:cubicBezTo>
                  <a:lnTo>
                    <a:pt x="1450619" y="90642"/>
                  </a:lnTo>
                  <a:cubicBezTo>
                    <a:pt x="1453004" y="78326"/>
                    <a:pt x="1454611" y="68006"/>
                    <a:pt x="1454611" y="58416"/>
                  </a:cubicBezTo>
                  <a:cubicBezTo>
                    <a:pt x="1454611" y="17087"/>
                    <a:pt x="1427155" y="4333"/>
                    <a:pt x="1367522" y="4333"/>
                  </a:cubicBezTo>
                  <a:lnTo>
                    <a:pt x="1279654" y="4333"/>
                  </a:lnTo>
                  <a:cubicBezTo>
                    <a:pt x="1272888" y="4333"/>
                    <a:pt x="1266121" y="8714"/>
                    <a:pt x="1264953" y="14653"/>
                  </a:cubicBezTo>
                  <a:lnTo>
                    <a:pt x="1206926" y="286969"/>
                  </a:lnTo>
                  <a:close/>
                  <a:moveTo>
                    <a:pt x="959437" y="282685"/>
                  </a:moveTo>
                  <a:cubicBezTo>
                    <a:pt x="959437" y="286288"/>
                    <a:pt x="967761" y="290620"/>
                    <a:pt x="975744" y="290620"/>
                  </a:cubicBezTo>
                  <a:lnTo>
                    <a:pt x="1132008" y="290620"/>
                  </a:lnTo>
                  <a:cubicBezTo>
                    <a:pt x="1139164" y="290620"/>
                    <a:pt x="1146319" y="261607"/>
                    <a:pt x="1146319" y="257226"/>
                  </a:cubicBezTo>
                  <a:cubicBezTo>
                    <a:pt x="1146319" y="252066"/>
                    <a:pt x="1143545" y="248074"/>
                    <a:pt x="1138385" y="248074"/>
                  </a:cubicBezTo>
                  <a:lnTo>
                    <a:pt x="1014348" y="248074"/>
                  </a:lnTo>
                  <a:lnTo>
                    <a:pt x="1031824" y="166583"/>
                  </a:lnTo>
                  <a:lnTo>
                    <a:pt x="1142766" y="166583"/>
                  </a:lnTo>
                  <a:cubicBezTo>
                    <a:pt x="1149143" y="166583"/>
                    <a:pt x="1157467" y="139176"/>
                    <a:pt x="1157467" y="132799"/>
                  </a:cubicBezTo>
                  <a:cubicBezTo>
                    <a:pt x="1157467" y="128029"/>
                    <a:pt x="1154303" y="124037"/>
                    <a:pt x="1149922" y="124037"/>
                  </a:cubicBezTo>
                  <a:lnTo>
                    <a:pt x="1040976" y="124037"/>
                  </a:lnTo>
                  <a:lnTo>
                    <a:pt x="1057284" y="46928"/>
                  </a:lnTo>
                  <a:lnTo>
                    <a:pt x="1183706" y="46928"/>
                  </a:lnTo>
                  <a:cubicBezTo>
                    <a:pt x="1190862" y="46928"/>
                    <a:pt x="1198407" y="17525"/>
                    <a:pt x="1198407" y="13144"/>
                  </a:cubicBezTo>
                  <a:cubicBezTo>
                    <a:pt x="1198407" y="8373"/>
                    <a:pt x="1195243" y="4381"/>
                    <a:pt x="1190472" y="4381"/>
                  </a:cubicBezTo>
                  <a:lnTo>
                    <a:pt x="1031045" y="4381"/>
                  </a:lnTo>
                  <a:cubicBezTo>
                    <a:pt x="1024278" y="4381"/>
                    <a:pt x="1017512" y="7984"/>
                    <a:pt x="1016344" y="14701"/>
                  </a:cubicBezTo>
                  <a:lnTo>
                    <a:pt x="959485" y="282637"/>
                  </a:lnTo>
                  <a:close/>
                  <a:moveTo>
                    <a:pt x="881792" y="47317"/>
                  </a:moveTo>
                  <a:lnTo>
                    <a:pt x="956905" y="47317"/>
                  </a:lnTo>
                  <a:cubicBezTo>
                    <a:pt x="963672" y="47317"/>
                    <a:pt x="971607" y="18304"/>
                    <a:pt x="971607" y="13533"/>
                  </a:cubicBezTo>
                  <a:cubicBezTo>
                    <a:pt x="971607" y="8762"/>
                    <a:pt x="968053" y="4771"/>
                    <a:pt x="963282" y="4771"/>
                  </a:cubicBezTo>
                  <a:lnTo>
                    <a:pt x="767296" y="4771"/>
                  </a:lnTo>
                  <a:cubicBezTo>
                    <a:pt x="759361" y="4771"/>
                    <a:pt x="752595" y="36169"/>
                    <a:pt x="752595" y="38944"/>
                  </a:cubicBezTo>
                  <a:cubicBezTo>
                    <a:pt x="752595" y="43715"/>
                    <a:pt x="755759" y="47268"/>
                    <a:pt x="760919" y="47268"/>
                  </a:cubicBezTo>
                  <a:lnTo>
                    <a:pt x="834085" y="47268"/>
                  </a:lnTo>
                  <a:lnTo>
                    <a:pt x="782776" y="287018"/>
                  </a:lnTo>
                  <a:cubicBezTo>
                    <a:pt x="782776" y="293785"/>
                    <a:pt x="805413" y="295342"/>
                    <a:pt x="816560" y="295342"/>
                  </a:cubicBezTo>
                  <a:cubicBezTo>
                    <a:pt x="822499" y="295342"/>
                    <a:pt x="829655" y="290961"/>
                    <a:pt x="831262" y="284584"/>
                  </a:cubicBezTo>
                  <a:lnTo>
                    <a:pt x="881743" y="47220"/>
                  </a:lnTo>
                  <a:close/>
                  <a:moveTo>
                    <a:pt x="639559" y="47317"/>
                  </a:moveTo>
                  <a:lnTo>
                    <a:pt x="714673" y="47317"/>
                  </a:lnTo>
                  <a:cubicBezTo>
                    <a:pt x="721439" y="47317"/>
                    <a:pt x="729374" y="18304"/>
                    <a:pt x="729374" y="13533"/>
                  </a:cubicBezTo>
                  <a:cubicBezTo>
                    <a:pt x="729374" y="8762"/>
                    <a:pt x="725772" y="4771"/>
                    <a:pt x="721050" y="4771"/>
                  </a:cubicBezTo>
                  <a:lnTo>
                    <a:pt x="525064" y="4771"/>
                  </a:lnTo>
                  <a:cubicBezTo>
                    <a:pt x="517129" y="4771"/>
                    <a:pt x="510362" y="36169"/>
                    <a:pt x="510362" y="38944"/>
                  </a:cubicBezTo>
                  <a:cubicBezTo>
                    <a:pt x="510362" y="43715"/>
                    <a:pt x="513527" y="47268"/>
                    <a:pt x="518687" y="47268"/>
                  </a:cubicBezTo>
                  <a:lnTo>
                    <a:pt x="591853" y="47268"/>
                  </a:lnTo>
                  <a:lnTo>
                    <a:pt x="540593" y="287018"/>
                  </a:lnTo>
                  <a:cubicBezTo>
                    <a:pt x="540593" y="293785"/>
                    <a:pt x="563229" y="295342"/>
                    <a:pt x="574377" y="295342"/>
                  </a:cubicBezTo>
                  <a:cubicBezTo>
                    <a:pt x="580316" y="295342"/>
                    <a:pt x="587472" y="290961"/>
                    <a:pt x="589078" y="284584"/>
                  </a:cubicBezTo>
                  <a:lnTo>
                    <a:pt x="639559" y="47220"/>
                  </a:lnTo>
                  <a:close/>
                  <a:moveTo>
                    <a:pt x="398885" y="70391"/>
                  </a:moveTo>
                  <a:lnTo>
                    <a:pt x="409205" y="177731"/>
                  </a:lnTo>
                  <a:lnTo>
                    <a:pt x="343195" y="177731"/>
                  </a:lnTo>
                  <a:lnTo>
                    <a:pt x="398836" y="70391"/>
                  </a:lnTo>
                  <a:close/>
                  <a:moveTo>
                    <a:pt x="419185" y="285850"/>
                  </a:moveTo>
                  <a:cubicBezTo>
                    <a:pt x="419963" y="295002"/>
                    <a:pt x="443427" y="295391"/>
                    <a:pt x="454964" y="295391"/>
                  </a:cubicBezTo>
                  <a:cubicBezTo>
                    <a:pt x="459735" y="295391"/>
                    <a:pt x="470055" y="292616"/>
                    <a:pt x="470055" y="283075"/>
                  </a:cubicBezTo>
                  <a:lnTo>
                    <a:pt x="436271" y="9152"/>
                  </a:lnTo>
                  <a:cubicBezTo>
                    <a:pt x="435492" y="3602"/>
                    <a:pt x="432279" y="0"/>
                    <a:pt x="427947" y="0"/>
                  </a:cubicBezTo>
                  <a:cubicBezTo>
                    <a:pt x="418795" y="0"/>
                    <a:pt x="392946" y="779"/>
                    <a:pt x="388565" y="8762"/>
                  </a:cubicBezTo>
                  <a:lnTo>
                    <a:pt x="238289" y="283075"/>
                  </a:lnTo>
                  <a:cubicBezTo>
                    <a:pt x="237072" y="285071"/>
                    <a:pt x="236293" y="286239"/>
                    <a:pt x="236293" y="288235"/>
                  </a:cubicBezTo>
                  <a:cubicBezTo>
                    <a:pt x="236293" y="293785"/>
                    <a:pt x="243839" y="295391"/>
                    <a:pt x="247830" y="295391"/>
                  </a:cubicBezTo>
                  <a:cubicBezTo>
                    <a:pt x="256982" y="295391"/>
                    <a:pt x="282004" y="295391"/>
                    <a:pt x="286385" y="287067"/>
                  </a:cubicBezTo>
                  <a:lnTo>
                    <a:pt x="321386" y="220278"/>
                  </a:lnTo>
                  <a:lnTo>
                    <a:pt x="412807" y="220278"/>
                  </a:lnTo>
                  <a:lnTo>
                    <a:pt x="419185" y="285850"/>
                  </a:lnTo>
                  <a:close/>
                  <a:moveTo>
                    <a:pt x="68785" y="115713"/>
                  </a:moveTo>
                  <a:cubicBezTo>
                    <a:pt x="79933" y="62846"/>
                    <a:pt x="97019" y="42546"/>
                    <a:pt x="150276" y="42546"/>
                  </a:cubicBezTo>
                  <a:lnTo>
                    <a:pt x="157432" y="42546"/>
                  </a:lnTo>
                  <a:cubicBezTo>
                    <a:pt x="180068" y="42546"/>
                    <a:pt x="201974" y="44932"/>
                    <a:pt x="219839" y="51698"/>
                  </a:cubicBezTo>
                  <a:cubicBezTo>
                    <a:pt x="220229" y="51698"/>
                    <a:pt x="220618" y="52088"/>
                    <a:pt x="221056" y="52088"/>
                  </a:cubicBezTo>
                  <a:cubicBezTo>
                    <a:pt x="229819" y="52088"/>
                    <a:pt x="244131" y="23074"/>
                    <a:pt x="244131" y="19861"/>
                  </a:cubicBezTo>
                  <a:cubicBezTo>
                    <a:pt x="244131" y="6328"/>
                    <a:pt x="189268" y="0"/>
                    <a:pt x="166583" y="0"/>
                  </a:cubicBezTo>
                  <a:lnTo>
                    <a:pt x="159427" y="0"/>
                  </a:lnTo>
                  <a:cubicBezTo>
                    <a:pt x="81491" y="0"/>
                    <a:pt x="38993" y="27017"/>
                    <a:pt x="21468" y="108557"/>
                  </a:cubicBezTo>
                  <a:lnTo>
                    <a:pt x="4771" y="186883"/>
                  </a:lnTo>
                  <a:cubicBezTo>
                    <a:pt x="1606" y="201195"/>
                    <a:pt x="0" y="213900"/>
                    <a:pt x="0" y="225048"/>
                  </a:cubicBezTo>
                  <a:cubicBezTo>
                    <a:pt x="0" y="277136"/>
                    <a:pt x="33395" y="295440"/>
                    <a:pt x="98188" y="295440"/>
                  </a:cubicBezTo>
                  <a:lnTo>
                    <a:pt x="101352" y="295440"/>
                  </a:lnTo>
                  <a:cubicBezTo>
                    <a:pt x="129586" y="295440"/>
                    <a:pt x="158600" y="289452"/>
                    <a:pt x="183232" y="277964"/>
                  </a:cubicBezTo>
                  <a:cubicBezTo>
                    <a:pt x="188782" y="275578"/>
                    <a:pt x="190777" y="270808"/>
                    <a:pt x="192384" y="263652"/>
                  </a:cubicBezTo>
                  <a:lnTo>
                    <a:pt x="214631" y="158697"/>
                  </a:lnTo>
                  <a:cubicBezTo>
                    <a:pt x="214631" y="157918"/>
                    <a:pt x="215020" y="156701"/>
                    <a:pt x="215020" y="155922"/>
                  </a:cubicBezTo>
                  <a:cubicBezTo>
                    <a:pt x="215020" y="150762"/>
                    <a:pt x="211856" y="145992"/>
                    <a:pt x="206696" y="145992"/>
                  </a:cubicBezTo>
                  <a:cubicBezTo>
                    <a:pt x="197544" y="145992"/>
                    <a:pt x="169309" y="147988"/>
                    <a:pt x="168141" y="154365"/>
                  </a:cubicBezTo>
                  <a:lnTo>
                    <a:pt x="148280" y="248561"/>
                  </a:lnTo>
                  <a:cubicBezTo>
                    <a:pt x="134747" y="251335"/>
                    <a:pt x="123647" y="252942"/>
                    <a:pt x="110504" y="252942"/>
                  </a:cubicBezTo>
                  <a:lnTo>
                    <a:pt x="107340" y="252942"/>
                  </a:lnTo>
                  <a:cubicBezTo>
                    <a:pt x="66010" y="252942"/>
                    <a:pt x="50871" y="241405"/>
                    <a:pt x="50871" y="212781"/>
                  </a:cubicBezTo>
                  <a:cubicBezTo>
                    <a:pt x="50871" y="203629"/>
                    <a:pt x="52477" y="192530"/>
                    <a:pt x="55252" y="179776"/>
                  </a:cubicBezTo>
                  <a:lnTo>
                    <a:pt x="68785" y="115761"/>
                  </a:lnTo>
                  <a:close/>
                </a:path>
              </a:pathLst>
            </a:custGeom>
            <a:solidFill>
              <a:srgbClr val="1E242B"/>
            </a:solidFill>
            <a:ln w="48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DE809056-A1B1-733B-B36C-B744E20BB474}"/>
                </a:ext>
              </a:extLst>
            </p:cNvPr>
            <p:cNvSpPr/>
            <p:nvPr/>
          </p:nvSpPr>
          <p:spPr>
            <a:xfrm>
              <a:off x="468004" y="634768"/>
              <a:ext cx="60704" cy="68346"/>
            </a:xfrm>
            <a:custGeom>
              <a:avLst/>
              <a:gdLst>
                <a:gd name="connsiteX0" fmla="*/ 8519 w 60704"/>
                <a:gd name="connsiteY0" fmla="*/ 19910 h 68346"/>
                <a:gd name="connsiteX1" fmla="*/ 0 w 60704"/>
                <a:gd name="connsiteY1" fmla="*/ 60023 h 68346"/>
                <a:gd name="connsiteX2" fmla="*/ 33784 w 60704"/>
                <a:gd name="connsiteY2" fmla="*/ 68347 h 68346"/>
                <a:gd name="connsiteX3" fmla="*/ 48485 w 60704"/>
                <a:gd name="connsiteY3" fmla="*/ 57637 h 68346"/>
                <a:gd name="connsiteX4" fmla="*/ 60704 w 60704"/>
                <a:gd name="connsiteY4" fmla="*/ 0 h 68346"/>
                <a:gd name="connsiteX5" fmla="*/ 8519 w 60704"/>
                <a:gd name="connsiteY5" fmla="*/ 19910 h 6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704" h="68346">
                  <a:moveTo>
                    <a:pt x="8519" y="19910"/>
                  </a:moveTo>
                  <a:lnTo>
                    <a:pt x="0" y="60023"/>
                  </a:lnTo>
                  <a:cubicBezTo>
                    <a:pt x="0" y="66789"/>
                    <a:pt x="23026" y="68347"/>
                    <a:pt x="33784" y="68347"/>
                  </a:cubicBezTo>
                  <a:cubicBezTo>
                    <a:pt x="40551" y="68347"/>
                    <a:pt x="46879" y="63966"/>
                    <a:pt x="48485" y="57637"/>
                  </a:cubicBezTo>
                  <a:lnTo>
                    <a:pt x="60704" y="0"/>
                  </a:lnTo>
                  <a:cubicBezTo>
                    <a:pt x="41816" y="3213"/>
                    <a:pt x="24145" y="10077"/>
                    <a:pt x="8519" y="19910"/>
                  </a:cubicBezTo>
                  <a:close/>
                </a:path>
              </a:pathLst>
            </a:custGeom>
            <a:solidFill>
              <a:srgbClr val="6CC4C4"/>
            </a:solidFill>
            <a:ln w="48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F1910C55-23A8-814F-8990-FFD3F5524AD0}"/>
                </a:ext>
              </a:extLst>
            </p:cNvPr>
            <p:cNvSpPr/>
            <p:nvPr/>
          </p:nvSpPr>
          <p:spPr>
            <a:xfrm>
              <a:off x="353557" y="634281"/>
              <a:ext cx="60801" cy="68784"/>
            </a:xfrm>
            <a:custGeom>
              <a:avLst/>
              <a:gdLst>
                <a:gd name="connsiteX0" fmla="*/ 8908 w 60801"/>
                <a:gd name="connsiteY0" fmla="*/ 18644 h 68784"/>
                <a:gd name="connsiteX1" fmla="*/ 0 w 60801"/>
                <a:gd name="connsiteY1" fmla="*/ 60461 h 68784"/>
                <a:gd name="connsiteX2" fmla="*/ 33784 w 60801"/>
                <a:gd name="connsiteY2" fmla="*/ 68785 h 68784"/>
                <a:gd name="connsiteX3" fmla="*/ 48485 w 60801"/>
                <a:gd name="connsiteY3" fmla="*/ 58075 h 68784"/>
                <a:gd name="connsiteX4" fmla="*/ 60801 w 60801"/>
                <a:gd name="connsiteY4" fmla="*/ 0 h 68784"/>
                <a:gd name="connsiteX5" fmla="*/ 8908 w 60801"/>
                <a:gd name="connsiteY5" fmla="*/ 18644 h 68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801" h="68784">
                  <a:moveTo>
                    <a:pt x="8908" y="18644"/>
                  </a:moveTo>
                  <a:lnTo>
                    <a:pt x="0" y="60461"/>
                  </a:lnTo>
                  <a:cubicBezTo>
                    <a:pt x="0" y="67227"/>
                    <a:pt x="23026" y="68785"/>
                    <a:pt x="33784" y="68785"/>
                  </a:cubicBezTo>
                  <a:cubicBezTo>
                    <a:pt x="40551" y="68785"/>
                    <a:pt x="46879" y="64404"/>
                    <a:pt x="48485" y="58075"/>
                  </a:cubicBezTo>
                  <a:lnTo>
                    <a:pt x="60801" y="0"/>
                  </a:lnTo>
                  <a:cubicBezTo>
                    <a:pt x="42060" y="2823"/>
                    <a:pt x="24535" y="9298"/>
                    <a:pt x="8908" y="18644"/>
                  </a:cubicBezTo>
                  <a:close/>
                </a:path>
              </a:pathLst>
            </a:custGeom>
            <a:solidFill>
              <a:srgbClr val="6CC4C4"/>
            </a:solidFill>
            <a:ln w="48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8F2C5D61-DD3B-05B6-142E-A778455F1204}"/>
                </a:ext>
              </a:extLst>
            </p:cNvPr>
            <p:cNvSpPr/>
            <p:nvPr/>
          </p:nvSpPr>
          <p:spPr>
            <a:xfrm>
              <a:off x="346845" y="407773"/>
              <a:ext cx="259181" cy="114641"/>
            </a:xfrm>
            <a:custGeom>
              <a:avLst/>
              <a:gdLst>
                <a:gd name="connsiteX0" fmla="*/ 255322 w 259181"/>
                <a:gd name="connsiteY0" fmla="*/ 71268 h 114641"/>
                <a:gd name="connsiteX1" fmla="*/ 214868 w 259181"/>
                <a:gd name="connsiteY1" fmla="*/ 71268 h 114641"/>
                <a:gd name="connsiteX2" fmla="*/ 227671 w 259181"/>
                <a:gd name="connsiteY2" fmla="*/ 10807 h 114641"/>
                <a:gd name="connsiteX3" fmla="*/ 227671 w 259181"/>
                <a:gd name="connsiteY3" fmla="*/ 8811 h 114641"/>
                <a:gd name="connsiteX4" fmla="*/ 217741 w 259181"/>
                <a:gd name="connsiteY4" fmla="*/ 49 h 114641"/>
                <a:gd name="connsiteX5" fmla="*/ 180403 w 259181"/>
                <a:gd name="connsiteY5" fmla="*/ 8373 h 114641"/>
                <a:gd name="connsiteX6" fmla="*/ 167016 w 259181"/>
                <a:gd name="connsiteY6" fmla="*/ 71219 h 114641"/>
                <a:gd name="connsiteX7" fmla="*/ 100421 w 259181"/>
                <a:gd name="connsiteY7" fmla="*/ 71219 h 114641"/>
                <a:gd name="connsiteX8" fmla="*/ 113224 w 259181"/>
                <a:gd name="connsiteY8" fmla="*/ 10758 h 114641"/>
                <a:gd name="connsiteX9" fmla="*/ 113224 w 259181"/>
                <a:gd name="connsiteY9" fmla="*/ 8762 h 114641"/>
                <a:gd name="connsiteX10" fmla="*/ 103294 w 259181"/>
                <a:gd name="connsiteY10" fmla="*/ 0 h 114641"/>
                <a:gd name="connsiteX11" fmla="*/ 65956 w 259181"/>
                <a:gd name="connsiteY11" fmla="*/ 8324 h 114641"/>
                <a:gd name="connsiteX12" fmla="*/ 52569 w 259181"/>
                <a:gd name="connsiteY12" fmla="*/ 71170 h 114641"/>
                <a:gd name="connsiteX13" fmla="*/ 16205 w 259181"/>
                <a:gd name="connsiteY13" fmla="*/ 71170 h 114641"/>
                <a:gd name="connsiteX14" fmla="*/ 286 w 259181"/>
                <a:gd name="connsiteY14" fmla="*/ 102520 h 114641"/>
                <a:gd name="connsiteX15" fmla="*/ 6761 w 259181"/>
                <a:gd name="connsiteY15" fmla="*/ 114058 h 114641"/>
                <a:gd name="connsiteX16" fmla="*/ 8708 w 259181"/>
                <a:gd name="connsiteY16" fmla="*/ 114447 h 114641"/>
                <a:gd name="connsiteX17" fmla="*/ 242860 w 259181"/>
                <a:gd name="connsiteY17" fmla="*/ 114642 h 114641"/>
                <a:gd name="connsiteX18" fmla="*/ 256393 w 259181"/>
                <a:gd name="connsiteY18" fmla="*/ 102472 h 114641"/>
                <a:gd name="connsiteX19" fmla="*/ 255273 w 259181"/>
                <a:gd name="connsiteY19" fmla="*/ 71170 h 114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9181" h="114641">
                  <a:moveTo>
                    <a:pt x="255322" y="71268"/>
                  </a:moveTo>
                  <a:lnTo>
                    <a:pt x="214868" y="71268"/>
                  </a:lnTo>
                  <a:lnTo>
                    <a:pt x="227671" y="10807"/>
                  </a:lnTo>
                  <a:lnTo>
                    <a:pt x="227671" y="8811"/>
                  </a:lnTo>
                  <a:cubicBezTo>
                    <a:pt x="227671" y="4040"/>
                    <a:pt x="223680" y="49"/>
                    <a:pt x="217741" y="49"/>
                  </a:cubicBezTo>
                  <a:cubicBezTo>
                    <a:pt x="208199" y="49"/>
                    <a:pt x="181961" y="1655"/>
                    <a:pt x="180403" y="8373"/>
                  </a:cubicBezTo>
                  <a:lnTo>
                    <a:pt x="167016" y="71219"/>
                  </a:lnTo>
                  <a:lnTo>
                    <a:pt x="100421" y="71219"/>
                  </a:lnTo>
                  <a:lnTo>
                    <a:pt x="113224" y="10758"/>
                  </a:lnTo>
                  <a:lnTo>
                    <a:pt x="113224" y="8762"/>
                  </a:lnTo>
                  <a:cubicBezTo>
                    <a:pt x="113224" y="3992"/>
                    <a:pt x="109233" y="0"/>
                    <a:pt x="103294" y="0"/>
                  </a:cubicBezTo>
                  <a:cubicBezTo>
                    <a:pt x="93752" y="0"/>
                    <a:pt x="67514" y="1606"/>
                    <a:pt x="65956" y="8324"/>
                  </a:cubicBezTo>
                  <a:lnTo>
                    <a:pt x="52569" y="71170"/>
                  </a:lnTo>
                  <a:lnTo>
                    <a:pt x="16205" y="71170"/>
                  </a:lnTo>
                  <a:cubicBezTo>
                    <a:pt x="9244" y="71316"/>
                    <a:pt x="2282" y="93174"/>
                    <a:pt x="286" y="102520"/>
                  </a:cubicBezTo>
                  <a:cubicBezTo>
                    <a:pt x="-979" y="108362"/>
                    <a:pt x="2088" y="113035"/>
                    <a:pt x="6761" y="114058"/>
                  </a:cubicBezTo>
                  <a:cubicBezTo>
                    <a:pt x="7540" y="114204"/>
                    <a:pt x="7929" y="114301"/>
                    <a:pt x="8708" y="114447"/>
                  </a:cubicBezTo>
                  <a:lnTo>
                    <a:pt x="242860" y="114642"/>
                  </a:lnTo>
                  <a:cubicBezTo>
                    <a:pt x="249431" y="114398"/>
                    <a:pt x="254981" y="109092"/>
                    <a:pt x="256393" y="102472"/>
                  </a:cubicBezTo>
                  <a:cubicBezTo>
                    <a:pt x="258632" y="91957"/>
                    <a:pt x="261845" y="72533"/>
                    <a:pt x="255273" y="71170"/>
                  </a:cubicBezTo>
                  <a:close/>
                </a:path>
              </a:pathLst>
            </a:custGeom>
            <a:solidFill>
              <a:srgbClr val="6CC4C4"/>
            </a:solidFill>
            <a:ln w="48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6F5DAFE1-F90E-1BA9-DDB6-F000BE97F25E}"/>
                </a:ext>
              </a:extLst>
            </p:cNvPr>
            <p:cNvSpPr/>
            <p:nvPr/>
          </p:nvSpPr>
          <p:spPr>
            <a:xfrm>
              <a:off x="322553" y="524215"/>
              <a:ext cx="259181" cy="108556"/>
            </a:xfrm>
            <a:custGeom>
              <a:avLst/>
              <a:gdLst>
                <a:gd name="connsiteX0" fmla="*/ 255273 w 259181"/>
                <a:gd name="connsiteY0" fmla="*/ 65085 h 108556"/>
                <a:gd name="connsiteX1" fmla="*/ 215793 w 259181"/>
                <a:gd name="connsiteY1" fmla="*/ 65085 h 108556"/>
                <a:gd name="connsiteX2" fmla="*/ 229472 w 259181"/>
                <a:gd name="connsiteY2" fmla="*/ 438 h 108556"/>
                <a:gd name="connsiteX3" fmla="*/ 177287 w 259181"/>
                <a:gd name="connsiteY3" fmla="*/ 20884 h 108556"/>
                <a:gd name="connsiteX4" fmla="*/ 167892 w 259181"/>
                <a:gd name="connsiteY4" fmla="*/ 65085 h 108556"/>
                <a:gd name="connsiteX5" fmla="*/ 101346 w 259181"/>
                <a:gd name="connsiteY5" fmla="*/ 65085 h 108556"/>
                <a:gd name="connsiteX6" fmla="*/ 115123 w 259181"/>
                <a:gd name="connsiteY6" fmla="*/ 0 h 108556"/>
                <a:gd name="connsiteX7" fmla="*/ 63181 w 259181"/>
                <a:gd name="connsiteY7" fmla="*/ 19131 h 108556"/>
                <a:gd name="connsiteX8" fmla="*/ 53396 w 259181"/>
                <a:gd name="connsiteY8" fmla="*/ 65085 h 108556"/>
                <a:gd name="connsiteX9" fmla="*/ 16205 w 259181"/>
                <a:gd name="connsiteY9" fmla="*/ 65085 h 108556"/>
                <a:gd name="connsiteX10" fmla="*/ 286 w 259181"/>
                <a:gd name="connsiteY10" fmla="*/ 96435 h 108556"/>
                <a:gd name="connsiteX11" fmla="*/ 6761 w 259181"/>
                <a:gd name="connsiteY11" fmla="*/ 107973 h 108556"/>
                <a:gd name="connsiteX12" fmla="*/ 8708 w 259181"/>
                <a:gd name="connsiteY12" fmla="*/ 108362 h 108556"/>
                <a:gd name="connsiteX13" fmla="*/ 242859 w 259181"/>
                <a:gd name="connsiteY13" fmla="*/ 108557 h 108556"/>
                <a:gd name="connsiteX14" fmla="*/ 256393 w 259181"/>
                <a:gd name="connsiteY14" fmla="*/ 96387 h 108556"/>
                <a:gd name="connsiteX15" fmla="*/ 255273 w 259181"/>
                <a:gd name="connsiteY15" fmla="*/ 65085 h 108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9181" h="108556">
                  <a:moveTo>
                    <a:pt x="255273" y="65085"/>
                  </a:moveTo>
                  <a:lnTo>
                    <a:pt x="215793" y="65085"/>
                  </a:lnTo>
                  <a:lnTo>
                    <a:pt x="229472" y="438"/>
                  </a:lnTo>
                  <a:cubicBezTo>
                    <a:pt x="210536" y="3797"/>
                    <a:pt x="192865" y="10856"/>
                    <a:pt x="177287" y="20884"/>
                  </a:cubicBezTo>
                  <a:lnTo>
                    <a:pt x="167892" y="65085"/>
                  </a:lnTo>
                  <a:lnTo>
                    <a:pt x="101346" y="65085"/>
                  </a:lnTo>
                  <a:lnTo>
                    <a:pt x="115123" y="0"/>
                  </a:lnTo>
                  <a:cubicBezTo>
                    <a:pt x="96332" y="2969"/>
                    <a:pt x="78807" y="9590"/>
                    <a:pt x="63181" y="19131"/>
                  </a:cubicBezTo>
                  <a:lnTo>
                    <a:pt x="53396" y="65085"/>
                  </a:lnTo>
                  <a:lnTo>
                    <a:pt x="16205" y="65085"/>
                  </a:lnTo>
                  <a:cubicBezTo>
                    <a:pt x="9244" y="65231"/>
                    <a:pt x="2282" y="87089"/>
                    <a:pt x="286" y="96435"/>
                  </a:cubicBezTo>
                  <a:cubicBezTo>
                    <a:pt x="-979" y="102277"/>
                    <a:pt x="2088" y="106999"/>
                    <a:pt x="6761" y="107973"/>
                  </a:cubicBezTo>
                  <a:cubicBezTo>
                    <a:pt x="7540" y="108119"/>
                    <a:pt x="7929" y="108216"/>
                    <a:pt x="8708" y="108362"/>
                  </a:cubicBezTo>
                  <a:lnTo>
                    <a:pt x="242859" y="108557"/>
                  </a:lnTo>
                  <a:cubicBezTo>
                    <a:pt x="249431" y="108313"/>
                    <a:pt x="255030" y="103007"/>
                    <a:pt x="256393" y="96387"/>
                  </a:cubicBezTo>
                  <a:cubicBezTo>
                    <a:pt x="258632" y="85872"/>
                    <a:pt x="261845" y="66448"/>
                    <a:pt x="255273" y="65085"/>
                  </a:cubicBezTo>
                  <a:close/>
                </a:path>
              </a:pathLst>
            </a:custGeom>
            <a:solidFill>
              <a:srgbClr val="6CC4C4"/>
            </a:solidFill>
            <a:ln w="48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9" name="Grafik 12">
            <a:extLst>
              <a:ext uri="{FF2B5EF4-FFF2-40B4-BE49-F238E27FC236}">
                <a16:creationId xmlns:a16="http://schemas.microsoft.com/office/drawing/2014/main" id="{A8F13546-A095-7608-197A-BDAF3D8494AA}"/>
              </a:ext>
            </a:extLst>
          </p:cNvPr>
          <p:cNvSpPr/>
          <p:nvPr userDrawn="1"/>
        </p:nvSpPr>
        <p:spPr>
          <a:xfrm>
            <a:off x="11424981" y="307435"/>
            <a:ext cx="521802" cy="521881"/>
          </a:xfrm>
          <a:custGeom>
            <a:avLst/>
            <a:gdLst>
              <a:gd name="connsiteX0" fmla="*/ 629888 w 1259776"/>
              <a:gd name="connsiteY0" fmla="*/ 0 h 1259966"/>
              <a:gd name="connsiteX1" fmla="*/ 0 w 1259776"/>
              <a:gd name="connsiteY1" fmla="*/ 629888 h 1259966"/>
              <a:gd name="connsiteX2" fmla="*/ 629888 w 1259776"/>
              <a:gd name="connsiteY2" fmla="*/ 1259967 h 1259966"/>
              <a:gd name="connsiteX3" fmla="*/ 1259777 w 1259776"/>
              <a:gd name="connsiteY3" fmla="*/ 629888 h 1259966"/>
              <a:gd name="connsiteX4" fmla="*/ 629888 w 1259776"/>
              <a:gd name="connsiteY4" fmla="*/ 0 h 1259966"/>
              <a:gd name="connsiteX5" fmla="*/ 202978 w 1259776"/>
              <a:gd name="connsiteY5" fmla="*/ 552545 h 1259966"/>
              <a:gd name="connsiteX6" fmla="*/ 228505 w 1259776"/>
              <a:gd name="connsiteY6" fmla="*/ 502444 h 1259966"/>
              <a:gd name="connsiteX7" fmla="*/ 286703 w 1259776"/>
              <a:gd name="connsiteY7" fmla="*/ 502444 h 1259966"/>
              <a:gd name="connsiteX8" fmla="*/ 308134 w 1259776"/>
              <a:gd name="connsiteY8" fmla="*/ 401669 h 1259966"/>
              <a:gd name="connsiteX9" fmla="*/ 367856 w 1259776"/>
              <a:gd name="connsiteY9" fmla="*/ 388239 h 1259966"/>
              <a:gd name="connsiteX10" fmla="*/ 383762 w 1259776"/>
              <a:gd name="connsiteY10" fmla="*/ 402241 h 1259966"/>
              <a:gd name="connsiteX11" fmla="*/ 383762 w 1259776"/>
              <a:gd name="connsiteY11" fmla="*/ 405384 h 1259966"/>
              <a:gd name="connsiteX12" fmla="*/ 363379 w 1259776"/>
              <a:gd name="connsiteY12" fmla="*/ 502253 h 1259966"/>
              <a:gd name="connsiteX13" fmla="*/ 469868 w 1259776"/>
              <a:gd name="connsiteY13" fmla="*/ 502253 h 1259966"/>
              <a:gd name="connsiteX14" fmla="*/ 491300 w 1259776"/>
              <a:gd name="connsiteY14" fmla="*/ 401479 h 1259966"/>
              <a:gd name="connsiteX15" fmla="*/ 551021 w 1259776"/>
              <a:gd name="connsiteY15" fmla="*/ 388049 h 1259966"/>
              <a:gd name="connsiteX16" fmla="*/ 566928 w 1259776"/>
              <a:gd name="connsiteY16" fmla="*/ 402050 h 1259966"/>
              <a:gd name="connsiteX17" fmla="*/ 566928 w 1259776"/>
              <a:gd name="connsiteY17" fmla="*/ 405194 h 1259966"/>
              <a:gd name="connsiteX18" fmla="*/ 546545 w 1259776"/>
              <a:gd name="connsiteY18" fmla="*/ 502063 h 1259966"/>
              <a:gd name="connsiteX19" fmla="*/ 611124 w 1259776"/>
              <a:gd name="connsiteY19" fmla="*/ 502063 h 1259966"/>
              <a:gd name="connsiteX20" fmla="*/ 613029 w 1259776"/>
              <a:gd name="connsiteY20" fmla="*/ 552164 h 1259966"/>
              <a:gd name="connsiteX21" fmla="*/ 591312 w 1259776"/>
              <a:gd name="connsiteY21" fmla="*/ 571500 h 1259966"/>
              <a:gd name="connsiteX22" fmla="*/ 216408 w 1259776"/>
              <a:gd name="connsiteY22" fmla="*/ 571310 h 1259966"/>
              <a:gd name="connsiteX23" fmla="*/ 213265 w 1259776"/>
              <a:gd name="connsiteY23" fmla="*/ 570643 h 1259966"/>
              <a:gd name="connsiteX24" fmla="*/ 202883 w 1259776"/>
              <a:gd name="connsiteY24" fmla="*/ 552164 h 1259966"/>
              <a:gd name="connsiteX25" fmla="*/ 177641 w 1259776"/>
              <a:gd name="connsiteY25" fmla="*/ 747713 h 1259966"/>
              <a:gd name="connsiteX26" fmla="*/ 174403 w 1259776"/>
              <a:gd name="connsiteY26" fmla="*/ 747046 h 1259966"/>
              <a:gd name="connsiteX27" fmla="*/ 164021 w 1259776"/>
              <a:gd name="connsiteY27" fmla="*/ 728567 h 1259966"/>
              <a:gd name="connsiteX28" fmla="*/ 189548 w 1259776"/>
              <a:gd name="connsiteY28" fmla="*/ 678466 h 1259966"/>
              <a:gd name="connsiteX29" fmla="*/ 249269 w 1259776"/>
              <a:gd name="connsiteY29" fmla="*/ 678466 h 1259966"/>
              <a:gd name="connsiteX30" fmla="*/ 264795 w 1259776"/>
              <a:gd name="connsiteY30" fmla="*/ 604933 h 1259966"/>
              <a:gd name="connsiteX31" fmla="*/ 348139 w 1259776"/>
              <a:gd name="connsiteY31" fmla="*/ 574358 h 1259966"/>
              <a:gd name="connsiteX32" fmla="*/ 326041 w 1259776"/>
              <a:gd name="connsiteY32" fmla="*/ 678466 h 1259966"/>
              <a:gd name="connsiteX33" fmla="*/ 432530 w 1259776"/>
              <a:gd name="connsiteY33" fmla="*/ 678466 h 1259966"/>
              <a:gd name="connsiteX34" fmla="*/ 447580 w 1259776"/>
              <a:gd name="connsiteY34" fmla="*/ 607695 h 1259966"/>
              <a:gd name="connsiteX35" fmla="*/ 531114 w 1259776"/>
              <a:gd name="connsiteY35" fmla="*/ 574929 h 1259966"/>
              <a:gd name="connsiteX36" fmla="*/ 509207 w 1259776"/>
              <a:gd name="connsiteY36" fmla="*/ 678371 h 1259966"/>
              <a:gd name="connsiteX37" fmla="*/ 572357 w 1259776"/>
              <a:gd name="connsiteY37" fmla="*/ 678371 h 1259966"/>
              <a:gd name="connsiteX38" fmla="*/ 574262 w 1259776"/>
              <a:gd name="connsiteY38" fmla="*/ 728472 h 1259966"/>
              <a:gd name="connsiteX39" fmla="*/ 552545 w 1259776"/>
              <a:gd name="connsiteY39" fmla="*/ 747998 h 1259966"/>
              <a:gd name="connsiteX40" fmla="*/ 177737 w 1259776"/>
              <a:gd name="connsiteY40" fmla="*/ 747617 h 1259966"/>
              <a:gd name="connsiteX41" fmla="*/ 290894 w 1259776"/>
              <a:gd name="connsiteY41" fmla="*/ 843534 h 1259966"/>
              <a:gd name="connsiteX42" fmla="*/ 267272 w 1259776"/>
              <a:gd name="connsiteY42" fmla="*/ 860774 h 1259966"/>
              <a:gd name="connsiteX43" fmla="*/ 213265 w 1259776"/>
              <a:gd name="connsiteY43" fmla="*/ 847439 h 1259966"/>
              <a:gd name="connsiteX44" fmla="*/ 227552 w 1259776"/>
              <a:gd name="connsiteY44" fmla="*/ 780479 h 1259966"/>
              <a:gd name="connsiteX45" fmla="*/ 310610 w 1259776"/>
              <a:gd name="connsiteY45" fmla="*/ 750570 h 1259966"/>
              <a:gd name="connsiteX46" fmla="*/ 290894 w 1259776"/>
              <a:gd name="connsiteY46" fmla="*/ 843629 h 1259966"/>
              <a:gd name="connsiteX47" fmla="*/ 396526 w 1259776"/>
              <a:gd name="connsiteY47" fmla="*/ 847344 h 1259966"/>
              <a:gd name="connsiteX48" fmla="*/ 410147 w 1259776"/>
              <a:gd name="connsiteY48" fmla="*/ 783146 h 1259966"/>
              <a:gd name="connsiteX49" fmla="*/ 493681 w 1259776"/>
              <a:gd name="connsiteY49" fmla="*/ 751237 h 1259966"/>
              <a:gd name="connsiteX50" fmla="*/ 474155 w 1259776"/>
              <a:gd name="connsiteY50" fmla="*/ 843439 h 1259966"/>
              <a:gd name="connsiteX51" fmla="*/ 450533 w 1259776"/>
              <a:gd name="connsiteY51" fmla="*/ 860393 h 1259966"/>
              <a:gd name="connsiteX52" fmla="*/ 396526 w 1259776"/>
              <a:gd name="connsiteY52" fmla="*/ 847249 h 1259966"/>
              <a:gd name="connsiteX53" fmla="*/ 1028795 w 1259776"/>
              <a:gd name="connsiteY53" fmla="*/ 452438 h 1259966"/>
              <a:gd name="connsiteX54" fmla="*/ 1022413 w 1259776"/>
              <a:gd name="connsiteY54" fmla="*/ 483680 h 1259966"/>
              <a:gd name="connsiteX55" fmla="*/ 876872 w 1259776"/>
              <a:gd name="connsiteY55" fmla="*/ 629031 h 1259966"/>
              <a:gd name="connsiteX56" fmla="*/ 974217 w 1259776"/>
              <a:gd name="connsiteY56" fmla="*/ 748856 h 1259966"/>
              <a:gd name="connsiteX57" fmla="*/ 968883 w 1259776"/>
              <a:gd name="connsiteY57" fmla="*/ 799243 h 1259966"/>
              <a:gd name="connsiteX58" fmla="*/ 960406 w 1259776"/>
              <a:gd name="connsiteY58" fmla="*/ 838772 h 1259966"/>
              <a:gd name="connsiteX59" fmla="*/ 654368 w 1259776"/>
              <a:gd name="connsiteY59" fmla="*/ 1052989 h 1259966"/>
              <a:gd name="connsiteX60" fmla="*/ 455295 w 1259776"/>
              <a:gd name="connsiteY60" fmla="*/ 1017746 h 1259966"/>
              <a:gd name="connsiteX61" fmla="*/ 499110 w 1259776"/>
              <a:gd name="connsiteY61" fmla="*/ 955453 h 1259966"/>
              <a:gd name="connsiteX62" fmla="*/ 644652 w 1259776"/>
              <a:gd name="connsiteY62" fmla="*/ 969455 h 1259966"/>
              <a:gd name="connsiteX63" fmla="*/ 865251 w 1259776"/>
              <a:gd name="connsiteY63" fmla="*/ 842201 h 1259966"/>
              <a:gd name="connsiteX64" fmla="*/ 872681 w 1259776"/>
              <a:gd name="connsiteY64" fmla="*/ 803529 h 1259966"/>
              <a:gd name="connsiteX65" fmla="*/ 876967 w 1259776"/>
              <a:gd name="connsiteY65" fmla="*/ 767144 h 1259966"/>
              <a:gd name="connsiteX66" fmla="*/ 721805 w 1259776"/>
              <a:gd name="connsiteY66" fmla="*/ 676180 h 1259966"/>
              <a:gd name="connsiteX67" fmla="*/ 687610 w 1259776"/>
              <a:gd name="connsiteY67" fmla="*/ 676180 h 1259966"/>
              <a:gd name="connsiteX68" fmla="*/ 675704 w 1259776"/>
              <a:gd name="connsiteY68" fmla="*/ 638747 h 1259966"/>
              <a:gd name="connsiteX69" fmla="*/ 705707 w 1259776"/>
              <a:gd name="connsiteY69" fmla="*/ 591598 h 1259966"/>
              <a:gd name="connsiteX70" fmla="*/ 725043 w 1259776"/>
              <a:gd name="connsiteY70" fmla="*/ 591598 h 1259966"/>
              <a:gd name="connsiteX71" fmla="*/ 928402 w 1259776"/>
              <a:gd name="connsiteY71" fmla="*/ 479203 h 1259966"/>
              <a:gd name="connsiteX72" fmla="*/ 932688 w 1259776"/>
              <a:gd name="connsiteY72" fmla="*/ 456914 h 1259966"/>
              <a:gd name="connsiteX73" fmla="*/ 936974 w 1259776"/>
              <a:gd name="connsiteY73" fmla="*/ 420338 h 1259966"/>
              <a:gd name="connsiteX74" fmla="*/ 786098 w 1259776"/>
              <a:gd name="connsiteY74" fmla="*/ 339185 h 1259966"/>
              <a:gd name="connsiteX75" fmla="*/ 644747 w 1259776"/>
              <a:gd name="connsiteY75" fmla="*/ 350901 h 1259966"/>
              <a:gd name="connsiteX76" fmla="*/ 628840 w 1259776"/>
              <a:gd name="connsiteY76" fmla="*/ 307086 h 1259966"/>
              <a:gd name="connsiteX77" fmla="*/ 629888 w 1259776"/>
              <a:gd name="connsiteY77" fmla="*/ 290894 h 1259966"/>
              <a:gd name="connsiteX78" fmla="*/ 826675 w 1259776"/>
              <a:gd name="connsiteY78" fmla="*/ 257747 h 1259966"/>
              <a:gd name="connsiteX79" fmla="*/ 1035558 w 1259776"/>
              <a:gd name="connsiteY79" fmla="*/ 393764 h 1259966"/>
              <a:gd name="connsiteX80" fmla="*/ 1028986 w 1259776"/>
              <a:gd name="connsiteY80" fmla="*/ 452438 h 1259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1259776" h="1259966">
                <a:moveTo>
                  <a:pt x="629888" y="0"/>
                </a:moveTo>
                <a:cubicBezTo>
                  <a:pt x="282035" y="0"/>
                  <a:pt x="0" y="282035"/>
                  <a:pt x="0" y="629888"/>
                </a:cubicBezTo>
                <a:cubicBezTo>
                  <a:pt x="0" y="977741"/>
                  <a:pt x="282035" y="1259967"/>
                  <a:pt x="629888" y="1259967"/>
                </a:cubicBezTo>
                <a:cubicBezTo>
                  <a:pt x="977741" y="1259967"/>
                  <a:pt x="1259777" y="977741"/>
                  <a:pt x="1259777" y="629888"/>
                </a:cubicBezTo>
                <a:cubicBezTo>
                  <a:pt x="1259777" y="282035"/>
                  <a:pt x="977741" y="0"/>
                  <a:pt x="629888" y="0"/>
                </a:cubicBezTo>
                <a:moveTo>
                  <a:pt x="202978" y="552545"/>
                </a:moveTo>
                <a:cubicBezTo>
                  <a:pt x="206121" y="537686"/>
                  <a:pt x="217456" y="502634"/>
                  <a:pt x="228505" y="502444"/>
                </a:cubicBezTo>
                <a:lnTo>
                  <a:pt x="286703" y="502444"/>
                </a:lnTo>
                <a:lnTo>
                  <a:pt x="308134" y="401669"/>
                </a:lnTo>
                <a:cubicBezTo>
                  <a:pt x="310706" y="390811"/>
                  <a:pt x="352520" y="388239"/>
                  <a:pt x="367856" y="388239"/>
                </a:cubicBezTo>
                <a:cubicBezTo>
                  <a:pt x="377381" y="388239"/>
                  <a:pt x="383762" y="394621"/>
                  <a:pt x="383762" y="402241"/>
                </a:cubicBezTo>
                <a:lnTo>
                  <a:pt x="383762" y="405384"/>
                </a:lnTo>
                <a:lnTo>
                  <a:pt x="363379" y="502253"/>
                </a:lnTo>
                <a:lnTo>
                  <a:pt x="469868" y="502253"/>
                </a:lnTo>
                <a:lnTo>
                  <a:pt x="491300" y="401479"/>
                </a:lnTo>
                <a:cubicBezTo>
                  <a:pt x="493871" y="390620"/>
                  <a:pt x="535972" y="388049"/>
                  <a:pt x="551021" y="388049"/>
                </a:cubicBezTo>
                <a:cubicBezTo>
                  <a:pt x="560546" y="388049"/>
                  <a:pt x="566928" y="394430"/>
                  <a:pt x="566928" y="402050"/>
                </a:cubicBezTo>
                <a:lnTo>
                  <a:pt x="566928" y="405194"/>
                </a:lnTo>
                <a:lnTo>
                  <a:pt x="546545" y="502063"/>
                </a:lnTo>
                <a:lnTo>
                  <a:pt x="611124" y="502063"/>
                </a:lnTo>
                <a:cubicBezTo>
                  <a:pt x="621792" y="504158"/>
                  <a:pt x="616649" y="535400"/>
                  <a:pt x="613029" y="552164"/>
                </a:cubicBezTo>
                <a:cubicBezTo>
                  <a:pt x="610648" y="562547"/>
                  <a:pt x="601790" y="571310"/>
                  <a:pt x="591312" y="571500"/>
                </a:cubicBezTo>
                <a:lnTo>
                  <a:pt x="216408" y="571310"/>
                </a:lnTo>
                <a:cubicBezTo>
                  <a:pt x="215170" y="571119"/>
                  <a:pt x="214503" y="570929"/>
                  <a:pt x="213265" y="570643"/>
                </a:cubicBezTo>
                <a:cubicBezTo>
                  <a:pt x="205835" y="568928"/>
                  <a:pt x="200978" y="561499"/>
                  <a:pt x="202883" y="552164"/>
                </a:cubicBezTo>
                <a:moveTo>
                  <a:pt x="177641" y="747713"/>
                </a:moveTo>
                <a:cubicBezTo>
                  <a:pt x="176403" y="747522"/>
                  <a:pt x="175736" y="747236"/>
                  <a:pt x="174403" y="747046"/>
                </a:cubicBezTo>
                <a:cubicBezTo>
                  <a:pt x="166973" y="745522"/>
                  <a:pt x="162116" y="737902"/>
                  <a:pt x="164021" y="728567"/>
                </a:cubicBezTo>
                <a:cubicBezTo>
                  <a:pt x="167164" y="713708"/>
                  <a:pt x="178499" y="678656"/>
                  <a:pt x="189548" y="678466"/>
                </a:cubicBezTo>
                <a:lnTo>
                  <a:pt x="249269" y="678466"/>
                </a:lnTo>
                <a:lnTo>
                  <a:pt x="264795" y="604933"/>
                </a:lnTo>
                <a:cubicBezTo>
                  <a:pt x="289846" y="589598"/>
                  <a:pt x="317945" y="579025"/>
                  <a:pt x="348139" y="574358"/>
                </a:cubicBezTo>
                <a:lnTo>
                  <a:pt x="326041" y="678466"/>
                </a:lnTo>
                <a:lnTo>
                  <a:pt x="432530" y="678466"/>
                </a:lnTo>
                <a:lnTo>
                  <a:pt x="447580" y="607695"/>
                </a:lnTo>
                <a:cubicBezTo>
                  <a:pt x="472440" y="591503"/>
                  <a:pt x="500729" y="580263"/>
                  <a:pt x="531114" y="574929"/>
                </a:cubicBezTo>
                <a:lnTo>
                  <a:pt x="509207" y="678371"/>
                </a:lnTo>
                <a:lnTo>
                  <a:pt x="572357" y="678371"/>
                </a:lnTo>
                <a:cubicBezTo>
                  <a:pt x="583025" y="680752"/>
                  <a:pt x="577882" y="711708"/>
                  <a:pt x="574262" y="728472"/>
                </a:cubicBezTo>
                <a:cubicBezTo>
                  <a:pt x="571881" y="739140"/>
                  <a:pt x="563023" y="747617"/>
                  <a:pt x="552545" y="747998"/>
                </a:cubicBezTo>
                <a:lnTo>
                  <a:pt x="177737" y="747617"/>
                </a:lnTo>
                <a:close/>
                <a:moveTo>
                  <a:pt x="290894" y="843534"/>
                </a:moveTo>
                <a:cubicBezTo>
                  <a:pt x="288322" y="853726"/>
                  <a:pt x="278130" y="860774"/>
                  <a:pt x="267272" y="860774"/>
                </a:cubicBezTo>
                <a:cubicBezTo>
                  <a:pt x="250031" y="860774"/>
                  <a:pt x="213265" y="858203"/>
                  <a:pt x="213265" y="847439"/>
                </a:cubicBezTo>
                <a:lnTo>
                  <a:pt x="227552" y="780479"/>
                </a:lnTo>
                <a:cubicBezTo>
                  <a:pt x="252413" y="765429"/>
                  <a:pt x="280702" y="754952"/>
                  <a:pt x="310610" y="750570"/>
                </a:cubicBezTo>
                <a:lnTo>
                  <a:pt x="290894" y="843629"/>
                </a:lnTo>
                <a:close/>
                <a:moveTo>
                  <a:pt x="396526" y="847344"/>
                </a:moveTo>
                <a:lnTo>
                  <a:pt x="410147" y="783146"/>
                </a:lnTo>
                <a:cubicBezTo>
                  <a:pt x="435197" y="767239"/>
                  <a:pt x="463487" y="756380"/>
                  <a:pt x="493681" y="751237"/>
                </a:cubicBezTo>
                <a:lnTo>
                  <a:pt x="474155" y="843439"/>
                </a:lnTo>
                <a:cubicBezTo>
                  <a:pt x="471583" y="853631"/>
                  <a:pt x="461391" y="860393"/>
                  <a:pt x="450533" y="860393"/>
                </a:cubicBezTo>
                <a:cubicBezTo>
                  <a:pt x="433578" y="860393"/>
                  <a:pt x="396526" y="858107"/>
                  <a:pt x="396526" y="847249"/>
                </a:cubicBezTo>
                <a:moveTo>
                  <a:pt x="1028795" y="452438"/>
                </a:moveTo>
                <a:lnTo>
                  <a:pt x="1022413" y="483680"/>
                </a:lnTo>
                <a:cubicBezTo>
                  <a:pt x="1003078" y="574643"/>
                  <a:pt x="931450" y="614172"/>
                  <a:pt x="876872" y="629031"/>
                </a:cubicBezTo>
                <a:cubicBezTo>
                  <a:pt x="926211" y="636651"/>
                  <a:pt x="974217" y="670941"/>
                  <a:pt x="974217" y="748856"/>
                </a:cubicBezTo>
                <a:cubicBezTo>
                  <a:pt x="974217" y="763905"/>
                  <a:pt x="973169" y="781145"/>
                  <a:pt x="968883" y="799243"/>
                </a:cubicBezTo>
                <a:lnTo>
                  <a:pt x="960406" y="838772"/>
                </a:lnTo>
                <a:cubicBezTo>
                  <a:pt x="925163" y="1003649"/>
                  <a:pt x="785908" y="1052989"/>
                  <a:pt x="654368" y="1052989"/>
                </a:cubicBezTo>
                <a:cubicBezTo>
                  <a:pt x="579311" y="1052989"/>
                  <a:pt x="455295" y="1040035"/>
                  <a:pt x="455295" y="1017746"/>
                </a:cubicBezTo>
                <a:cubicBezTo>
                  <a:pt x="455295" y="1007936"/>
                  <a:pt x="482060" y="955453"/>
                  <a:pt x="499110" y="955453"/>
                </a:cubicBezTo>
                <a:cubicBezTo>
                  <a:pt x="544163" y="960977"/>
                  <a:pt x="590264" y="969455"/>
                  <a:pt x="644652" y="969455"/>
                </a:cubicBezTo>
                <a:cubicBezTo>
                  <a:pt x="733520" y="969455"/>
                  <a:pt x="843725" y="952214"/>
                  <a:pt x="865251" y="842201"/>
                </a:cubicBezTo>
                <a:lnTo>
                  <a:pt x="872681" y="803529"/>
                </a:lnTo>
                <a:cubicBezTo>
                  <a:pt x="874776" y="789718"/>
                  <a:pt x="876967" y="777812"/>
                  <a:pt x="876967" y="767144"/>
                </a:cubicBezTo>
                <a:cubicBezTo>
                  <a:pt x="876967" y="689991"/>
                  <a:pt x="807434" y="676180"/>
                  <a:pt x="721805" y="676180"/>
                </a:cubicBezTo>
                <a:lnTo>
                  <a:pt x="687610" y="676180"/>
                </a:lnTo>
                <a:cubicBezTo>
                  <a:pt x="678847" y="676180"/>
                  <a:pt x="675704" y="657892"/>
                  <a:pt x="675704" y="638747"/>
                </a:cubicBezTo>
                <a:cubicBezTo>
                  <a:pt x="675704" y="611981"/>
                  <a:pt x="683324" y="591598"/>
                  <a:pt x="705707" y="591598"/>
                </a:cubicBezTo>
                <a:lnTo>
                  <a:pt x="725043" y="591598"/>
                </a:lnTo>
                <a:cubicBezTo>
                  <a:pt x="824484" y="591598"/>
                  <a:pt x="912209" y="564833"/>
                  <a:pt x="928402" y="479203"/>
                </a:cubicBezTo>
                <a:lnTo>
                  <a:pt x="932688" y="456914"/>
                </a:lnTo>
                <a:cubicBezTo>
                  <a:pt x="935831" y="443960"/>
                  <a:pt x="936974" y="431197"/>
                  <a:pt x="936974" y="420338"/>
                </a:cubicBezTo>
                <a:cubicBezTo>
                  <a:pt x="936974" y="358331"/>
                  <a:pt x="888968" y="339185"/>
                  <a:pt x="786098" y="339185"/>
                </a:cubicBezTo>
                <a:cubicBezTo>
                  <a:pt x="751904" y="339185"/>
                  <a:pt x="718757" y="342424"/>
                  <a:pt x="644747" y="350901"/>
                </a:cubicBezTo>
                <a:cubicBezTo>
                  <a:pt x="634175" y="350901"/>
                  <a:pt x="628840" y="327279"/>
                  <a:pt x="628840" y="307086"/>
                </a:cubicBezTo>
                <a:cubicBezTo>
                  <a:pt x="628840" y="300514"/>
                  <a:pt x="628840" y="296228"/>
                  <a:pt x="629888" y="290894"/>
                </a:cubicBezTo>
                <a:cubicBezTo>
                  <a:pt x="635222" y="265176"/>
                  <a:pt x="750761" y="257747"/>
                  <a:pt x="826675" y="257747"/>
                </a:cubicBezTo>
                <a:cubicBezTo>
                  <a:pt x="957358" y="257747"/>
                  <a:pt x="1035558" y="289846"/>
                  <a:pt x="1035558" y="393764"/>
                </a:cubicBezTo>
                <a:cubicBezTo>
                  <a:pt x="1035558" y="410813"/>
                  <a:pt x="1033272" y="430149"/>
                  <a:pt x="1028986" y="452438"/>
                </a:cubicBezTo>
              </a:path>
            </a:pathLst>
          </a:custGeom>
          <a:solidFill>
            <a:srgbClr val="6DC4C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665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702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b="1" kern="1200" cap="none" baseline="0">
          <a:solidFill>
            <a:srgbClr val="6DC4C4"/>
          </a:solidFill>
          <a:latin typeface="Overpass Black" panose="00000A00000000000000" pitchFamily="2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14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1E242B"/>
          </a:solidFill>
          <a:latin typeface="Overpass Light" panose="00000400000000000000" pitchFamily="2" charset="0"/>
          <a:ea typeface="+mn-ea"/>
          <a:cs typeface="Calibri" panose="020F0502020204030204" pitchFamily="34" charset="0"/>
        </a:defRPr>
      </a:lvl1pPr>
      <a:lvl2pPr marL="216000" indent="-216000" algn="l" defTabSz="914400" rtl="0" eaLnBrk="1" latinLnBrk="0" hangingPunct="1"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rgbClr val="1E242B"/>
          </a:solidFill>
          <a:latin typeface="Overpass Light" panose="00000400000000000000" pitchFamily="2" charset="0"/>
          <a:ea typeface="+mn-ea"/>
          <a:cs typeface="Calibri" panose="020F0502020204030204" pitchFamily="34" charset="0"/>
        </a:defRPr>
      </a:lvl2pPr>
      <a:lvl3pPr marL="432000" indent="-216000" algn="l" defTabSz="914400" rtl="0" eaLnBrk="1" latinLnBrk="0" hangingPunct="1"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rgbClr val="1E242B"/>
          </a:solidFill>
          <a:latin typeface="Overpass Light" panose="00000400000000000000" pitchFamily="2" charset="0"/>
          <a:ea typeface="+mn-ea"/>
          <a:cs typeface="Calibri" panose="020F0502020204030204" pitchFamily="34" charset="0"/>
        </a:defRPr>
      </a:lvl3pPr>
      <a:lvl4pPr marL="612000" indent="-180000" algn="l" defTabSz="914400" rtl="0" eaLnBrk="1" latinLnBrk="0" hangingPunct="1"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200" kern="1200">
          <a:solidFill>
            <a:srgbClr val="1E242B"/>
          </a:solidFill>
          <a:latin typeface="Overpass Light" panose="00000400000000000000" pitchFamily="2" charset="0"/>
          <a:ea typeface="+mn-ea"/>
          <a:cs typeface="Calibri" panose="020F0502020204030204" pitchFamily="34" charset="0"/>
        </a:defRPr>
      </a:lvl4pPr>
      <a:lvl5pPr marL="612000" indent="-180000" algn="l" defTabSz="914400" rtl="0" eaLnBrk="1" latinLnBrk="0" hangingPunct="1"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200" kern="1200">
          <a:solidFill>
            <a:srgbClr val="1E242B"/>
          </a:solidFill>
          <a:latin typeface="Overpass Light" panose="00000400000000000000" pitchFamily="2" charset="0"/>
          <a:ea typeface="+mn-ea"/>
          <a:cs typeface="Calibri" panose="020F0502020204030204" pitchFamily="34" charset="0"/>
        </a:defRPr>
      </a:lvl5pPr>
      <a:lvl6pPr marL="612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612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612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612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0">
          <p15:clr>
            <a:srgbClr val="F26B43"/>
          </p15:clr>
        </p15:guide>
        <p15:guide id="2" pos="3953">
          <p15:clr>
            <a:srgbClr val="F26B43"/>
          </p15:clr>
        </p15:guide>
        <p15:guide id="3" orient="horz" pos="1253">
          <p15:clr>
            <a:srgbClr val="F26B43"/>
          </p15:clr>
        </p15:guide>
        <p15:guide id="4" orient="horz" pos="3929">
          <p15:clr>
            <a:srgbClr val="F26B43"/>
          </p15:clr>
        </p15:guide>
        <p15:guide id="5" pos="3727">
          <p15:clr>
            <a:srgbClr val="F26B43"/>
          </p15:clr>
        </p15:guide>
        <p15:guide id="6" pos="325">
          <p15:clr>
            <a:srgbClr val="F26B43"/>
          </p15:clr>
        </p15:guide>
        <p15:guide id="7" pos="7355">
          <p15:clr>
            <a:srgbClr val="F26B43"/>
          </p15:clr>
        </p15:guide>
        <p15:guide id="8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C27FF964-87CC-0469-1217-EC62022114B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69" b="16793"/>
          <a:stretch>
            <a:fillRect/>
          </a:stretch>
        </p:blipFill>
        <p:spPr>
          <a:xfrm>
            <a:off x="0" y="1244112"/>
            <a:ext cx="12192000" cy="4993176"/>
          </a:xfrm>
        </p:spPr>
      </p:pic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D654EEBF-5F57-B6FA-7BB0-F769D29804A0}"/>
              </a:ext>
            </a:extLst>
          </p:cNvPr>
          <p:cNvSpPr/>
          <p:nvPr/>
        </p:nvSpPr>
        <p:spPr bwMode="gray">
          <a:xfrm>
            <a:off x="0" y="5164535"/>
            <a:ext cx="8615363" cy="1085978"/>
          </a:xfrm>
          <a:custGeom>
            <a:avLst/>
            <a:gdLst>
              <a:gd name="connsiteX0" fmla="*/ 0 w 8615363"/>
              <a:gd name="connsiteY0" fmla="*/ 0 h 1085978"/>
              <a:gd name="connsiteX1" fmla="*/ 100013 w 8615363"/>
              <a:gd name="connsiteY1" fmla="*/ 0 h 1085978"/>
              <a:gd name="connsiteX2" fmla="*/ 173620 w 8615363"/>
              <a:gd name="connsiteY2" fmla="*/ 0 h 1085978"/>
              <a:gd name="connsiteX3" fmla="*/ 8615363 w 8615363"/>
              <a:gd name="connsiteY3" fmla="*/ 0 h 1085978"/>
              <a:gd name="connsiteX4" fmla="*/ 8361960 w 8615363"/>
              <a:gd name="connsiteY4" fmla="*/ 1080081 h 1085978"/>
              <a:gd name="connsiteX5" fmla="*/ 173620 w 8615363"/>
              <a:gd name="connsiteY5" fmla="*/ 1085926 h 1085978"/>
              <a:gd name="connsiteX6" fmla="*/ 173620 w 8615363"/>
              <a:gd name="connsiteY6" fmla="*/ 1085978 h 1085978"/>
              <a:gd name="connsiteX7" fmla="*/ 100013 w 8615363"/>
              <a:gd name="connsiteY7" fmla="*/ 1085978 h 1085978"/>
              <a:gd name="connsiteX8" fmla="*/ 0 w 8615363"/>
              <a:gd name="connsiteY8" fmla="*/ 1085978 h 1085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15363" h="1085978">
                <a:moveTo>
                  <a:pt x="0" y="0"/>
                </a:moveTo>
                <a:lnTo>
                  <a:pt x="100013" y="0"/>
                </a:lnTo>
                <a:lnTo>
                  <a:pt x="173620" y="0"/>
                </a:lnTo>
                <a:lnTo>
                  <a:pt x="8615363" y="0"/>
                </a:lnTo>
                <a:lnTo>
                  <a:pt x="8361960" y="1080081"/>
                </a:lnTo>
                <a:lnTo>
                  <a:pt x="173620" y="1085926"/>
                </a:lnTo>
                <a:lnTo>
                  <a:pt x="173620" y="1085978"/>
                </a:lnTo>
                <a:lnTo>
                  <a:pt x="100013" y="1085978"/>
                </a:lnTo>
                <a:lnTo>
                  <a:pt x="0" y="1085978"/>
                </a:lnTo>
                <a:close/>
              </a:path>
            </a:pathLst>
          </a:custGeom>
          <a:solidFill>
            <a:srgbClr val="6D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err="1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4183D65-1A73-4515-6672-CCBEDE3E5D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77500" lnSpcReduction="20000"/>
          </a:bodyPr>
          <a:lstStyle/>
          <a:p>
            <a:r>
              <a:rPr lang="de-DE" sz="2400" b="0">
                <a:ea typeface="Arial" charset="0"/>
                <a:cs typeface="Arial" charset="0"/>
              </a:rPr>
              <a:t>Ihr Partner für Systemdienstleistungen in der Energiewirtschaft</a:t>
            </a:r>
            <a:endParaRPr lang="de-DE" sz="2400" b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2FF43BB-B40F-7E55-7A64-EE462AC03A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de-DE" sz="1600" b="1">
                <a:ea typeface="Arial" charset="0"/>
                <a:cs typeface="Arial" charset="0"/>
              </a:rPr>
              <a:t>- deutschlandweit für Sie im Einsatz</a:t>
            </a:r>
          </a:p>
        </p:txBody>
      </p:sp>
    </p:spTree>
    <p:extLst>
      <p:ext uri="{BB962C8B-B14F-4D97-AF65-F5344CB8AC3E}">
        <p14:creationId xmlns:p14="http://schemas.microsoft.com/office/powerpoint/2010/main" val="17442733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VOID_BLANK_LAYOUT" val="True"/>
  <p:tag name="MIO_CD_LAYOUT_VALID_AREA" val="False"/>
  <p:tag name="MIO_CDID" val="73673d57-a87c-4062-9397-8c850c589a6b"/>
  <p:tag name="MIO_DBID" val="CDC8DDF9-BA27-4DFF-8EA4-DA6384CCA584"/>
  <p:tag name="MIO_EKGUID" val="1fca9820-86dc-4f53-9fdc-a9307c8f9e2e"/>
  <p:tag name="MIO_FALLBACK_LAYOUT" val="10"/>
  <p:tag name="MIO_HDS" val="True"/>
  <p:tag name="MIO_LASTDOWNLOADED" val="23.06.2023 13:28:57.534"/>
  <p:tag name="MIO_LASTEDITORNAME" val="Jana Gruener"/>
  <p:tag name="MIO_NUMBER_OF_VALID_LAYOUTS" val="18"/>
  <p:tag name="MIO_OBJECTNAME" val="Rhenus_Master 4.0_DE"/>
  <p:tag name="MIO_PRESI_FIRST_SLIDENUMBER" val="1"/>
  <p:tag name="MIO_SHOW_DATE" val="True"/>
  <p:tag name="MIO_SHOW_FOOTER" val="True"/>
  <p:tag name="MIO_SHOW_PAGENUMBER" val="True"/>
  <p:tag name="MIO_SKIPVERSION" val="01.01.0001 00:00:00"/>
  <p:tag name="MIO_UPDATE" val="True"/>
  <p:tag name="MIO_VERSION" val="22.02.2022 10:07:09"/>
</p:tagLst>
</file>

<file path=ppt/theme/theme1.xml><?xml version="1.0" encoding="utf-8"?>
<a:theme xmlns:a="http://schemas.openxmlformats.org/drawingml/2006/main" name="Rhenus_Logistics">
  <a:themeElements>
    <a:clrScheme name="Rhenus">
      <a:dk1>
        <a:srgbClr val="1F1F1F"/>
      </a:dk1>
      <a:lt1>
        <a:sysClr val="window" lastClr="FFFFFF"/>
      </a:lt1>
      <a:dk2>
        <a:srgbClr val="505050"/>
      </a:dk2>
      <a:lt2>
        <a:srgbClr val="85959D"/>
      </a:lt2>
      <a:accent1>
        <a:srgbClr val="CCE0EE"/>
      </a:accent1>
      <a:accent2>
        <a:srgbClr val="00469B"/>
      </a:accent2>
      <a:accent3>
        <a:srgbClr val="CFCFD1"/>
      </a:accent3>
      <a:accent4>
        <a:srgbClr val="6E6E6E"/>
      </a:accent4>
      <a:accent5>
        <a:srgbClr val="F6DD96"/>
      </a:accent5>
      <a:accent6>
        <a:srgbClr val="FABB00"/>
      </a:accent6>
      <a:hlink>
        <a:srgbClr val="00469B"/>
      </a:hlink>
      <a:folHlink>
        <a:srgbClr val="6E6E6E"/>
      </a:folHlink>
    </a:clrScheme>
    <a:fontScheme name="Overpass">
      <a:majorFont>
        <a:latin typeface="Overpass Black"/>
        <a:ea typeface="Arial Unicode MS"/>
        <a:cs typeface="Arial"/>
      </a:majorFont>
      <a:minorFont>
        <a:latin typeface="Overpass Light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>
          <a:noFill/>
        </a:ln>
      </a:spPr>
      <a:bodyPr rtlCol="0" anchor="ctr"/>
      <a:lstStyle>
        <a:defPPr algn="ctr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sz="1400" dirty="0" err="1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594708127DE6544800D4C15FEBC1E2C" ma:contentTypeVersion="13" ma:contentTypeDescription="Ein neues Dokument erstellen." ma:contentTypeScope="" ma:versionID="6bf262c5077fdf4a30b53de6e77adf00">
  <xsd:schema xmlns:xsd="http://www.w3.org/2001/XMLSchema" xmlns:xs="http://www.w3.org/2001/XMLSchema" xmlns:p="http://schemas.microsoft.com/office/2006/metadata/properties" xmlns:ns2="3f965469-bfa3-411d-81fb-427bd5fdc058" xmlns:ns3="2c2c5899-0b06-40dc-9689-e39c826f2698" targetNamespace="http://schemas.microsoft.com/office/2006/metadata/properties" ma:root="true" ma:fieldsID="73c0f5e6a9fcf929de2979d046448108" ns2:_="" ns3:_="">
    <xsd:import namespace="3f965469-bfa3-411d-81fb-427bd5fdc058"/>
    <xsd:import namespace="2c2c5899-0b06-40dc-9689-e39c826f269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965469-bfa3-411d-81fb-427bd5fdc05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f9756f9c-b6b3-44fb-a3f5-954ab3826a4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2c5899-0b06-40dc-9689-e39c826f2698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90bd18ea-b5fd-45f0-a32a-a362852a014a}" ma:internalName="TaxCatchAll" ma:showField="CatchAllData" ma:web="2c2c5899-0b06-40dc-9689-e39c826f269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f965469-bfa3-411d-81fb-427bd5fdc058">
      <Terms xmlns="http://schemas.microsoft.com/office/infopath/2007/PartnerControls"/>
    </lcf76f155ced4ddcb4097134ff3c332f>
    <TaxCatchAll xmlns="2c2c5899-0b06-40dc-9689-e39c826f2698" xsi:nil="true"/>
  </documentManagement>
</p:properties>
</file>

<file path=customXml/itemProps1.xml><?xml version="1.0" encoding="utf-8"?>
<ds:datastoreItem xmlns:ds="http://schemas.openxmlformats.org/officeDocument/2006/customXml" ds:itemID="{133FDAEC-8453-46BC-AAE1-7F51E332B86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6B8B223-D0EB-4025-A920-B643A35DE24E}">
  <ds:schemaRefs>
    <ds:schemaRef ds:uri="2c2c5899-0b06-40dc-9689-e39c826f2698"/>
    <ds:schemaRef ds:uri="3f965469-bfa3-411d-81fb-427bd5fdc05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7428987-D33D-43A8-887C-61051D757DAA}">
  <ds:schemaRefs>
    <ds:schemaRef ds:uri="2c2c5899-0b06-40dc-9689-e39c826f2698"/>
    <ds:schemaRef ds:uri="3f965469-bfa3-411d-81fb-427bd5fdc058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</Words>
  <Application>Microsoft Office PowerPoint</Application>
  <PresentationFormat>Breitbild</PresentationFormat>
  <Paragraphs>2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2" baseType="lpstr">
      <vt:lpstr>Aptos</vt:lpstr>
      <vt:lpstr>Arial</vt:lpstr>
      <vt:lpstr>Calibri</vt:lpstr>
      <vt:lpstr>Lato Light</vt:lpstr>
      <vt:lpstr>Nunito Sans SemiBold</vt:lpstr>
      <vt:lpstr>Overpass</vt:lpstr>
      <vt:lpstr>Overpass Black</vt:lpstr>
      <vt:lpstr>Overpass Light</vt:lpstr>
      <vt:lpstr>Source Sans Pro</vt:lpstr>
      <vt:lpstr>Source Sans Pro Light</vt:lpstr>
      <vt:lpstr>Rhenus_Logistics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uliane Borosch</dc:creator>
  <cp:lastModifiedBy>Juliane Borosch</cp:lastModifiedBy>
  <cp:revision>1</cp:revision>
  <dcterms:created xsi:type="dcterms:W3CDTF">2026-01-09T11:20:59Z</dcterms:created>
  <dcterms:modified xsi:type="dcterms:W3CDTF">2026-03-25T08:4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D594708127DE6544800D4C15FEBC1E2C</vt:lpwstr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</Properties>
</file>